
<file path=[Content_Types].xml><?xml version="1.0" encoding="utf-8"?>
<Types xmlns="http://schemas.openxmlformats.org/package/2006/content-types">
  <Default Extension="jpeg" ContentType="image/jpeg"/>
  <Default Extension="m4a" ContentType="audi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ink/ink1.xml" ContentType="application/inkml+xml"/>
  <Override PartName="/ppt/ink/ink2.xml" ContentType="application/inkml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tags/tag2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3.xml" ContentType="application/vnd.openxmlformats-officedocument.theme+xml"/>
  <Override PartName="/ppt/ink/ink7.xml" ContentType="application/inkml+xml"/>
  <Override PartName="/ppt/ink/ink8.xml" ContentType="application/inkml+xml"/>
  <Override PartName="/ppt/tags/tag3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4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2" r:id="rId4"/>
    <p:sldMasterId id="2147484112" r:id="rId5"/>
    <p:sldMasterId id="2147484148" r:id="rId6"/>
    <p:sldMasterId id="2147484197" r:id="rId7"/>
  </p:sldMasterIdLst>
  <p:notesMasterIdLst>
    <p:notesMasterId r:id="rId20"/>
  </p:notesMasterIdLst>
  <p:handoutMasterIdLst>
    <p:handoutMasterId r:id="rId21"/>
  </p:handoutMasterIdLst>
  <p:sldIdLst>
    <p:sldId id="370" r:id="rId8"/>
    <p:sldId id="6192" r:id="rId9"/>
    <p:sldId id="826" r:id="rId10"/>
    <p:sldId id="547" r:id="rId11"/>
    <p:sldId id="2146846964" r:id="rId12"/>
    <p:sldId id="2147481294" r:id="rId13"/>
    <p:sldId id="2147481293" r:id="rId14"/>
    <p:sldId id="2146846963" r:id="rId15"/>
    <p:sldId id="2147374338" r:id="rId16"/>
    <p:sldId id="278" r:id="rId17"/>
    <p:sldId id="2147475698" r:id="rId18"/>
    <p:sldId id="2147481295" r:id="rId19"/>
  </p:sldIdLst>
  <p:sldSz cx="9144000" cy="6858000" type="screen4x3"/>
  <p:notesSz cx="10018713" cy="6889750"/>
  <p:custDataLst>
    <p:tags r:id="rId2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Your Presentation" id="{AD589F47-9B79-4587-9A49-DA02BF6459F7}">
          <p14:sldIdLst/>
        </p14:section>
        <p14:section name="Title Slides" id="{130399CA-1BEB-4A14-8E54-BC5796A1754A}">
          <p14:sldIdLst>
            <p14:sldId id="370"/>
            <p14:sldId id="6192"/>
            <p14:sldId id="826"/>
            <p14:sldId id="547"/>
            <p14:sldId id="2146846964"/>
            <p14:sldId id="2147481294"/>
            <p14:sldId id="2147481293"/>
            <p14:sldId id="2146846963"/>
            <p14:sldId id="2147374338"/>
            <p14:sldId id="278"/>
            <p14:sldId id="2147475698"/>
            <p14:sldId id="2147481295"/>
          </p14:sldIdLst>
        </p14:section>
        <p14:section name="Section Breaks" id="{787AC997-AED2-4183-A2DE-A53A1B5FFFCC}">
          <p14:sldIdLst/>
        </p14:section>
        <p14:section name="Content Slides" id="{F17349DD-177F-4446-BE17-3D488CA5162D}">
          <p14:sldIdLst/>
        </p14:section>
        <p14:section name="Mosaics" id="{1353B2A1-AD37-4F0E-8CEC-90CA334F9CFB}">
          <p14:sldIdLst/>
        </p14:section>
        <p14:section name="Graphs and Tables" id="{19E9AA78-CE0C-457C-BD2E-6C80D49CC104}">
          <p14:sldIdLst/>
        </p14:section>
        <p14:section name="Meet the team" id="{7C175DC6-11E4-4469-8EAC-76C3B7441DA3}">
          <p14:sldIdLst/>
        </p14:section>
        <p14:section name="Q&amp;A" id="{BC98E377-384D-4A09-965F-70813411466F}">
          <p14:sldIdLst/>
        </p14:section>
        <p14:section name="Logo" id="{C6B2B2F1-7825-49EE-A3B7-217502CA5958}">
          <p14:sldIdLst/>
        </p14:section>
        <p14:section name="Color Values" id="{2C2C85CF-EB19-4D64-A431-4A493DADEA08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3742">
          <p15:clr>
            <a:srgbClr val="A4A3A4"/>
          </p15:clr>
        </p15:guide>
        <p15:guide id="2" orient="horz" pos="580">
          <p15:clr>
            <a:srgbClr val="A4A3A4"/>
          </p15:clr>
        </p15:guide>
        <p15:guide id="3" orient="horz" pos="3605">
          <p15:clr>
            <a:srgbClr val="A4A3A4"/>
          </p15:clr>
        </p15:guide>
        <p15:guide id="4" orient="horz" pos="144">
          <p15:clr>
            <a:srgbClr val="A4A3A4"/>
          </p15:clr>
        </p15:guide>
        <p15:guide id="5" orient="horz" pos="1304">
          <p15:clr>
            <a:srgbClr val="A4A3A4"/>
          </p15:clr>
        </p15:guide>
        <p15:guide id="6" orient="horz" pos="896">
          <p15:clr>
            <a:srgbClr val="A4A3A4"/>
          </p15:clr>
        </p15:guide>
        <p15:guide id="7" orient="horz" pos="1579">
          <p15:clr>
            <a:srgbClr val="A4A3A4"/>
          </p15:clr>
        </p15:guide>
        <p15:guide id="8" orient="horz" pos="4109">
          <p15:clr>
            <a:srgbClr val="A4A3A4"/>
          </p15:clr>
        </p15:guide>
        <p15:guide id="9" pos="5616">
          <p15:clr>
            <a:srgbClr val="A4A3A4"/>
          </p15:clr>
        </p15:guide>
        <p15:guide id="10" pos="144">
          <p15:clr>
            <a:srgbClr val="A4A3A4"/>
          </p15:clr>
        </p15:guide>
        <p15:guide id="11" pos="5240">
          <p15:clr>
            <a:srgbClr val="A4A3A4"/>
          </p15:clr>
        </p15:guide>
        <p15:guide id="12" pos="473">
          <p15:clr>
            <a:srgbClr val="A4A3A4"/>
          </p15:clr>
        </p15:guide>
        <p15:guide id="13" orient="horz" pos="3743">
          <p15:clr>
            <a:srgbClr val="A4A3A4"/>
          </p15:clr>
        </p15:guide>
        <p15:guide id="14" orient="horz" pos="148">
          <p15:clr>
            <a:srgbClr val="A4A3A4"/>
          </p15:clr>
        </p15:guide>
        <p15:guide id="15" orient="horz" pos="1056">
          <p15:clr>
            <a:srgbClr val="A4A3A4"/>
          </p15:clr>
        </p15:guide>
        <p15:guide id="16" orient="horz" pos="766">
          <p15:clr>
            <a:srgbClr val="A4A3A4"/>
          </p15:clr>
        </p15:guide>
        <p15:guide id="17" orient="horz" pos="4068">
          <p15:clr>
            <a:srgbClr val="A4A3A4"/>
          </p15:clr>
        </p15:guide>
        <p15:guide id="18" orient="horz" pos="846">
          <p15:clr>
            <a:srgbClr val="A4A3A4"/>
          </p15:clr>
        </p15:guide>
        <p15:guide id="19" pos="5476">
          <p15:clr>
            <a:srgbClr val="A4A3A4"/>
          </p15:clr>
        </p15:guide>
        <p15:guide id="20" pos="284">
          <p15:clr>
            <a:srgbClr val="A4A3A4"/>
          </p15:clr>
        </p15:guide>
        <p15:guide id="21" pos="5580">
          <p15:clr>
            <a:srgbClr val="A4A3A4"/>
          </p15:clr>
        </p15:guide>
        <p15:guide id="22" orient="horz" pos="3769">
          <p15:clr>
            <a:srgbClr val="A4A3A4"/>
          </p15:clr>
        </p15:guide>
        <p15:guide id="23" orient="horz" pos="116">
          <p15:clr>
            <a:srgbClr val="A4A3A4"/>
          </p15:clr>
        </p15:guide>
        <p15:guide id="24" orient="horz" pos="886">
          <p15:clr>
            <a:srgbClr val="A4A3A4"/>
          </p15:clr>
        </p15:guide>
        <p15:guide id="25" orient="horz" pos="3750">
          <p15:clr>
            <a:srgbClr val="A4A3A4"/>
          </p15:clr>
        </p15:guide>
        <p15:guide id="26" orient="horz" pos="4077">
          <p15:clr>
            <a:srgbClr val="A4A3A4"/>
          </p15:clr>
        </p15:guide>
        <p15:guide id="27" pos="5469">
          <p15:clr>
            <a:srgbClr val="A4A3A4"/>
          </p15:clr>
        </p15:guide>
        <p15:guide id="28" pos="339">
          <p15:clr>
            <a:srgbClr val="A4A3A4"/>
          </p15:clr>
        </p15:guide>
        <p15:guide id="29" orient="horz" pos="1614">
          <p15:clr>
            <a:srgbClr val="A4A3A4"/>
          </p15:clr>
        </p15:guide>
        <p15:guide id="30" orient="horz" pos="792">
          <p15:clr>
            <a:srgbClr val="A4A3A4"/>
          </p15:clr>
        </p15:guide>
        <p15:guide id="31" orient="horz" pos="3079">
          <p15:clr>
            <a:srgbClr val="A4A3A4"/>
          </p15:clr>
        </p15:guide>
        <p15:guide id="32" orient="horz" pos="458">
          <p15:clr>
            <a:srgbClr val="A4A3A4"/>
          </p15:clr>
        </p15:guide>
        <p15:guide id="33" pos="448">
          <p15:clr>
            <a:srgbClr val="A4A3A4"/>
          </p15:clr>
        </p15:guide>
        <p15:guide id="34" pos="2857">
          <p15:clr>
            <a:srgbClr val="A4A3A4"/>
          </p15:clr>
        </p15:guide>
        <p15:guide id="35" orient="horz" pos="773">
          <p15:clr>
            <a:srgbClr val="A4A3A4"/>
          </p15:clr>
        </p15:guide>
        <p15:guide id="36" orient="horz" pos="1733">
          <p15:clr>
            <a:srgbClr val="A4A3A4"/>
          </p15:clr>
        </p15:guide>
        <p15:guide id="37" orient="horz" pos="192">
          <p15:clr>
            <a:srgbClr val="A4A3A4"/>
          </p15:clr>
        </p15:guide>
        <p15:guide id="38" orient="horz" pos="197">
          <p15:clr>
            <a:srgbClr val="A4A3A4"/>
          </p15:clr>
        </p15:guide>
        <p15:guide id="39" orient="horz" pos="1021">
          <p15:clr>
            <a:srgbClr val="A4A3A4"/>
          </p15:clr>
        </p15:guide>
        <p15:guide id="40" orient="horz" pos="2124">
          <p15:clr>
            <a:srgbClr val="A4A3A4"/>
          </p15:clr>
        </p15:guide>
        <p15:guide id="41" orient="horz" pos="4105">
          <p15:clr>
            <a:srgbClr val="A4A3A4"/>
          </p15:clr>
        </p15:guide>
        <p15:guide id="42" orient="horz" pos="653">
          <p15:clr>
            <a:srgbClr val="A4A3A4"/>
          </p15:clr>
        </p15:guide>
        <p15:guide id="43" pos="1117">
          <p15:clr>
            <a:srgbClr val="A4A3A4"/>
          </p15:clr>
        </p15:guide>
        <p15:guide id="44" pos="561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70" userDrawn="1">
          <p15:clr>
            <a:srgbClr val="A4A3A4"/>
          </p15:clr>
        </p15:guide>
        <p15:guide id="2" pos="315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ye Henry" initials="KH [2]" lastIdx="1" clrIdx="0"/>
  <p:cmAuthor id="2" name="Kaye Henry" initials="KH [5]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58D1B"/>
    <a:srgbClr val="007681"/>
    <a:srgbClr val="279989"/>
    <a:srgbClr val="CF7F00"/>
    <a:srgbClr val="9E2A2F"/>
    <a:srgbClr val="005F86"/>
    <a:srgbClr val="BE531C"/>
    <a:srgbClr val="DAAA00"/>
    <a:srgbClr val="ABAD2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1998" autoAdjust="0"/>
    <p:restoredTop sz="86432" autoAdjust="0"/>
  </p:normalViewPr>
  <p:slideViewPr>
    <p:cSldViewPr snapToGrid="0">
      <p:cViewPr varScale="1">
        <p:scale>
          <a:sx n="66" d="100"/>
          <a:sy n="66" d="100"/>
        </p:scale>
        <p:origin x="888" y="32"/>
      </p:cViewPr>
      <p:guideLst>
        <p:guide orient="horz" pos="3742"/>
        <p:guide orient="horz" pos="580"/>
        <p:guide orient="horz" pos="3605"/>
        <p:guide orient="horz" pos="144"/>
        <p:guide orient="horz" pos="1304"/>
        <p:guide orient="horz" pos="896"/>
        <p:guide orient="horz" pos="1579"/>
        <p:guide orient="horz" pos="4109"/>
        <p:guide pos="5616"/>
        <p:guide pos="144"/>
        <p:guide pos="5240"/>
        <p:guide pos="473"/>
        <p:guide orient="horz" pos="3743"/>
        <p:guide orient="horz" pos="148"/>
        <p:guide orient="horz" pos="1056"/>
        <p:guide orient="horz" pos="766"/>
        <p:guide orient="horz" pos="4068"/>
        <p:guide orient="horz" pos="846"/>
        <p:guide pos="5476"/>
        <p:guide pos="284"/>
        <p:guide pos="5580"/>
        <p:guide orient="horz" pos="3769"/>
        <p:guide orient="horz" pos="116"/>
        <p:guide orient="horz" pos="886"/>
        <p:guide orient="horz" pos="3750"/>
        <p:guide orient="horz" pos="4077"/>
        <p:guide pos="5469"/>
        <p:guide pos="339"/>
        <p:guide orient="horz" pos="1614"/>
        <p:guide orient="horz" pos="792"/>
        <p:guide orient="horz" pos="3079"/>
        <p:guide orient="horz" pos="458"/>
        <p:guide pos="448"/>
        <p:guide pos="2857"/>
        <p:guide orient="horz" pos="773"/>
        <p:guide orient="horz" pos="1733"/>
        <p:guide orient="horz" pos="192"/>
        <p:guide orient="horz" pos="197"/>
        <p:guide orient="horz" pos="1021"/>
        <p:guide orient="horz" pos="2124"/>
        <p:guide orient="horz" pos="4105"/>
        <p:guide orient="horz" pos="653"/>
        <p:guide pos="1117"/>
        <p:guide pos="56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36"/>
    </p:cViewPr>
  </p:sorterViewPr>
  <p:notesViewPr>
    <p:cSldViewPr snapToGrid="0">
      <p:cViewPr varScale="1">
        <p:scale>
          <a:sx n="108" d="100"/>
          <a:sy n="108" d="100"/>
        </p:scale>
        <p:origin x="-5124" y="-78"/>
      </p:cViewPr>
      <p:guideLst>
        <p:guide orient="horz" pos="2170"/>
        <p:guide pos="315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commentAuthors" Target="commentAuthors.xml"/><Relationship Id="rId28" Type="http://schemas.microsoft.com/office/2016/11/relationships/changesInfo" Target="changesInfos/changesInfo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ike Speck" userId="42a04476-93d4-43a6-87a0-5d181a5aef40" providerId="ADAL" clId="{6DAC3AD1-9750-4538-AF83-88DBE94B1E3D}"/>
    <pc:docChg chg="delSld modSection">
      <pc:chgData name="Maike Speck" userId="42a04476-93d4-43a6-87a0-5d181a5aef40" providerId="ADAL" clId="{6DAC3AD1-9750-4538-AF83-88DBE94B1E3D}" dt="2024-10-07T15:46:44.366" v="1" actId="47"/>
      <pc:docMkLst>
        <pc:docMk/>
      </pc:docMkLst>
      <pc:sldChg chg="del">
        <pc:chgData name="Maike Speck" userId="42a04476-93d4-43a6-87a0-5d181a5aef40" providerId="ADAL" clId="{6DAC3AD1-9750-4538-AF83-88DBE94B1E3D}" dt="2024-10-07T15:46:44.366" v="1" actId="47"/>
        <pc:sldMkLst>
          <pc:docMk/>
          <pc:sldMk cId="839531243" sldId="2147374531"/>
        </pc:sldMkLst>
      </pc:sldChg>
      <pc:sldChg chg="del">
        <pc:chgData name="Maike Speck" userId="42a04476-93d4-43a6-87a0-5d181a5aef40" providerId="ADAL" clId="{6DAC3AD1-9750-4538-AF83-88DBE94B1E3D}" dt="2024-10-07T15:46:44.366" v="1" actId="47"/>
        <pc:sldMkLst>
          <pc:docMk/>
          <pc:sldMk cId="517044251" sldId="2147374533"/>
        </pc:sldMkLst>
      </pc:sldChg>
      <pc:sldChg chg="del">
        <pc:chgData name="Maike Speck" userId="42a04476-93d4-43a6-87a0-5d181a5aef40" providerId="ADAL" clId="{6DAC3AD1-9750-4538-AF83-88DBE94B1E3D}" dt="2024-10-07T15:46:44.366" v="1" actId="47"/>
        <pc:sldMkLst>
          <pc:docMk/>
          <pc:sldMk cId="687149383" sldId="2147374535"/>
        </pc:sldMkLst>
      </pc:sldChg>
      <pc:sldChg chg="del">
        <pc:chgData name="Maike Speck" userId="42a04476-93d4-43a6-87a0-5d181a5aef40" providerId="ADAL" clId="{6DAC3AD1-9750-4538-AF83-88DBE94B1E3D}" dt="2024-10-07T15:46:44.366" v="1" actId="47"/>
        <pc:sldMkLst>
          <pc:docMk/>
          <pc:sldMk cId="4005736716" sldId="2147475695"/>
        </pc:sldMkLst>
      </pc:sldChg>
      <pc:sldChg chg="del">
        <pc:chgData name="Maike Speck" userId="42a04476-93d4-43a6-87a0-5d181a5aef40" providerId="ADAL" clId="{6DAC3AD1-9750-4538-AF83-88DBE94B1E3D}" dt="2024-10-07T15:46:44.366" v="1" actId="47"/>
        <pc:sldMkLst>
          <pc:docMk/>
          <pc:sldMk cId="1864801812" sldId="2147475697"/>
        </pc:sldMkLst>
      </pc:sldChg>
      <pc:sldChg chg="del">
        <pc:chgData name="Maike Speck" userId="42a04476-93d4-43a6-87a0-5d181a5aef40" providerId="ADAL" clId="{6DAC3AD1-9750-4538-AF83-88DBE94B1E3D}" dt="2024-10-07T15:46:24.826" v="0" actId="47"/>
        <pc:sldMkLst>
          <pc:docMk/>
          <pc:sldMk cId="899723190" sldId="2147475700"/>
        </pc:sldMkLst>
      </pc:sldChg>
      <pc:sldChg chg="del">
        <pc:chgData name="Maike Speck" userId="42a04476-93d4-43a6-87a0-5d181a5aef40" providerId="ADAL" clId="{6DAC3AD1-9750-4538-AF83-88DBE94B1E3D}" dt="2024-10-07T15:46:44.366" v="1" actId="47"/>
        <pc:sldMkLst>
          <pc:docMk/>
          <pc:sldMk cId="2237316900" sldId="2147475701"/>
        </pc:sldMkLst>
      </pc:sldChg>
      <pc:sldChg chg="del">
        <pc:chgData name="Maike Speck" userId="42a04476-93d4-43a6-87a0-5d181a5aef40" providerId="ADAL" clId="{6DAC3AD1-9750-4538-AF83-88DBE94B1E3D}" dt="2024-10-07T15:46:44.366" v="1" actId="47"/>
        <pc:sldMkLst>
          <pc:docMk/>
          <pc:sldMk cId="2014465842" sldId="2147475702"/>
        </pc:sldMkLst>
      </pc:sldChg>
      <pc:sldChg chg="del">
        <pc:chgData name="Maike Speck" userId="42a04476-93d4-43a6-87a0-5d181a5aef40" providerId="ADAL" clId="{6DAC3AD1-9750-4538-AF83-88DBE94B1E3D}" dt="2024-10-07T15:46:44.366" v="1" actId="47"/>
        <pc:sldMkLst>
          <pc:docMk/>
          <pc:sldMk cId="3171720921" sldId="2147475704"/>
        </pc:sldMkLst>
      </pc:sldChg>
      <pc:sldChg chg="del">
        <pc:chgData name="Maike Speck" userId="42a04476-93d4-43a6-87a0-5d181a5aef40" providerId="ADAL" clId="{6DAC3AD1-9750-4538-AF83-88DBE94B1E3D}" dt="2024-10-07T15:46:44.366" v="1" actId="47"/>
        <pc:sldMkLst>
          <pc:docMk/>
          <pc:sldMk cId="2812033358" sldId="2147475707"/>
        </pc:sldMkLst>
      </pc:sldChg>
      <pc:sldChg chg="del">
        <pc:chgData name="Maike Speck" userId="42a04476-93d4-43a6-87a0-5d181a5aef40" providerId="ADAL" clId="{6DAC3AD1-9750-4538-AF83-88DBE94B1E3D}" dt="2024-10-07T15:46:44.366" v="1" actId="47"/>
        <pc:sldMkLst>
          <pc:docMk/>
          <pc:sldMk cId="803628962" sldId="2147475708"/>
        </pc:sldMkLst>
      </pc:sldChg>
      <pc:sldChg chg="del">
        <pc:chgData name="Maike Speck" userId="42a04476-93d4-43a6-87a0-5d181a5aef40" providerId="ADAL" clId="{6DAC3AD1-9750-4538-AF83-88DBE94B1E3D}" dt="2024-10-07T15:46:44.366" v="1" actId="47"/>
        <pc:sldMkLst>
          <pc:docMk/>
          <pc:sldMk cId="2928362850" sldId="2147475710"/>
        </pc:sldMkLst>
      </pc:sldChg>
      <pc:sldChg chg="del">
        <pc:chgData name="Maike Speck" userId="42a04476-93d4-43a6-87a0-5d181a5aef40" providerId="ADAL" clId="{6DAC3AD1-9750-4538-AF83-88DBE94B1E3D}" dt="2024-10-07T15:46:44.366" v="1" actId="47"/>
        <pc:sldMkLst>
          <pc:docMk/>
          <pc:sldMk cId="3823961160" sldId="2147475711"/>
        </pc:sldMkLst>
      </pc:sldChg>
      <pc:sldChg chg="del">
        <pc:chgData name="Maike Speck" userId="42a04476-93d4-43a6-87a0-5d181a5aef40" providerId="ADAL" clId="{6DAC3AD1-9750-4538-AF83-88DBE94B1E3D}" dt="2024-10-07T15:46:44.366" v="1" actId="47"/>
        <pc:sldMkLst>
          <pc:docMk/>
          <pc:sldMk cId="4174864608" sldId="2147475712"/>
        </pc:sldMkLst>
      </pc:sldChg>
      <pc:sldChg chg="del">
        <pc:chgData name="Maike Speck" userId="42a04476-93d4-43a6-87a0-5d181a5aef40" providerId="ADAL" clId="{6DAC3AD1-9750-4538-AF83-88DBE94B1E3D}" dt="2024-10-07T15:46:44.366" v="1" actId="47"/>
        <pc:sldMkLst>
          <pc:docMk/>
          <pc:sldMk cId="1154963826" sldId="2147475713"/>
        </pc:sldMkLst>
      </pc:sldChg>
      <pc:sldChg chg="del">
        <pc:chgData name="Maike Speck" userId="42a04476-93d4-43a6-87a0-5d181a5aef40" providerId="ADAL" clId="{6DAC3AD1-9750-4538-AF83-88DBE94B1E3D}" dt="2024-10-07T15:46:44.366" v="1" actId="47"/>
        <pc:sldMkLst>
          <pc:docMk/>
          <pc:sldMk cId="2274548518" sldId="2147475714"/>
        </pc:sldMkLst>
      </pc:sldChg>
      <pc:sldChg chg="del">
        <pc:chgData name="Maike Speck" userId="42a04476-93d4-43a6-87a0-5d181a5aef40" providerId="ADAL" clId="{6DAC3AD1-9750-4538-AF83-88DBE94B1E3D}" dt="2024-10-07T15:46:44.366" v="1" actId="47"/>
        <pc:sldMkLst>
          <pc:docMk/>
          <pc:sldMk cId="3998142898" sldId="2147475715"/>
        </pc:sldMkLst>
      </pc:sldChg>
      <pc:sldChg chg="del">
        <pc:chgData name="Maike Speck" userId="42a04476-93d4-43a6-87a0-5d181a5aef40" providerId="ADAL" clId="{6DAC3AD1-9750-4538-AF83-88DBE94B1E3D}" dt="2024-10-07T15:46:44.366" v="1" actId="47"/>
        <pc:sldMkLst>
          <pc:docMk/>
          <pc:sldMk cId="2009838280" sldId="2147481289"/>
        </pc:sldMkLst>
      </pc:sldChg>
      <pc:sldChg chg="del">
        <pc:chgData name="Maike Speck" userId="42a04476-93d4-43a6-87a0-5d181a5aef40" providerId="ADAL" clId="{6DAC3AD1-9750-4538-AF83-88DBE94B1E3D}" dt="2024-10-07T15:46:44.366" v="1" actId="47"/>
        <pc:sldMkLst>
          <pc:docMk/>
          <pc:sldMk cId="2665713525" sldId="2147481290"/>
        </pc:sldMkLst>
      </pc:sldChg>
      <pc:sldChg chg="del">
        <pc:chgData name="Maike Speck" userId="42a04476-93d4-43a6-87a0-5d181a5aef40" providerId="ADAL" clId="{6DAC3AD1-9750-4538-AF83-88DBE94B1E3D}" dt="2024-10-07T15:46:44.366" v="1" actId="47"/>
        <pc:sldMkLst>
          <pc:docMk/>
          <pc:sldMk cId="473115420" sldId="2147481291"/>
        </pc:sldMkLst>
      </pc:sldChg>
      <pc:sldMasterChg chg="delSldLayout">
        <pc:chgData name="Maike Speck" userId="42a04476-93d4-43a6-87a0-5d181a5aef40" providerId="ADAL" clId="{6DAC3AD1-9750-4538-AF83-88DBE94B1E3D}" dt="2024-10-07T15:46:44.366" v="1" actId="47"/>
        <pc:sldMasterMkLst>
          <pc:docMk/>
          <pc:sldMasterMk cId="3389010970" sldId="2147484148"/>
        </pc:sldMasterMkLst>
        <pc:sldLayoutChg chg="del">
          <pc:chgData name="Maike Speck" userId="42a04476-93d4-43a6-87a0-5d181a5aef40" providerId="ADAL" clId="{6DAC3AD1-9750-4538-AF83-88DBE94B1E3D}" dt="2024-10-07T15:46:44.366" v="1" actId="47"/>
          <pc:sldLayoutMkLst>
            <pc:docMk/>
            <pc:sldMasterMk cId="3389010970" sldId="2147484148"/>
            <pc:sldLayoutMk cId="911013333" sldId="2147484190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4C9A60F-0DEC-4F2D-81D7-F2DFDC480ED2}" type="doc">
      <dgm:prSet loTypeId="urn:microsoft.com/office/officeart/2005/8/layout/hierarchy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E5B12B4D-A1E8-448A-BAC0-8B010B32CCF9}">
      <dgm:prSet phldrT="[Text]"/>
      <dgm:spPr/>
      <dgm:t>
        <a:bodyPr/>
        <a:lstStyle/>
        <a:p>
          <a:r>
            <a:rPr lang="en-GB" dirty="0"/>
            <a:t>Project Team </a:t>
          </a:r>
        </a:p>
      </dgm:t>
    </dgm:pt>
    <dgm:pt modelId="{73F9A669-C434-4436-BDB0-98762495278A}" type="parTrans" cxnId="{9D1C354F-2476-4084-B8E7-7D2CF58BD6CB}">
      <dgm:prSet/>
      <dgm:spPr/>
      <dgm:t>
        <a:bodyPr/>
        <a:lstStyle/>
        <a:p>
          <a:endParaRPr lang="en-GB"/>
        </a:p>
      </dgm:t>
    </dgm:pt>
    <dgm:pt modelId="{163F17A5-E516-48E8-8EAC-CE3067151DA9}" type="sibTrans" cxnId="{9D1C354F-2476-4084-B8E7-7D2CF58BD6CB}">
      <dgm:prSet/>
      <dgm:spPr/>
      <dgm:t>
        <a:bodyPr/>
        <a:lstStyle/>
        <a:p>
          <a:endParaRPr lang="en-GB"/>
        </a:p>
      </dgm:t>
    </dgm:pt>
    <dgm:pt modelId="{535B7EC4-63FE-41BC-957F-866F0BB304F3}">
      <dgm:prSet phldrT="[Text]"/>
      <dgm:spPr>
        <a:solidFill>
          <a:srgbClr val="007681"/>
        </a:solidFill>
      </dgm:spPr>
      <dgm:t>
        <a:bodyPr/>
        <a:lstStyle/>
        <a:p>
          <a:r>
            <a:rPr lang="en-GB" dirty="0"/>
            <a:t>Technical Review team </a:t>
          </a:r>
        </a:p>
      </dgm:t>
    </dgm:pt>
    <dgm:pt modelId="{86702FDC-B0DF-4732-B29D-4F6AB5AFC2B4}" type="parTrans" cxnId="{4636E392-5027-4546-86A0-A02EDC099089}">
      <dgm:prSet/>
      <dgm:spPr/>
      <dgm:t>
        <a:bodyPr/>
        <a:lstStyle/>
        <a:p>
          <a:endParaRPr lang="en-GB"/>
        </a:p>
      </dgm:t>
    </dgm:pt>
    <dgm:pt modelId="{E944F33C-E8A5-4C60-8429-CC32297D25B4}" type="sibTrans" cxnId="{4636E392-5027-4546-86A0-A02EDC099089}">
      <dgm:prSet/>
      <dgm:spPr/>
      <dgm:t>
        <a:bodyPr/>
        <a:lstStyle/>
        <a:p>
          <a:endParaRPr lang="en-GB"/>
        </a:p>
      </dgm:t>
    </dgm:pt>
    <dgm:pt modelId="{10F8E80F-17D9-4ECB-80A5-A61A9BF6D8BE}">
      <dgm:prSet phldrT="[Text]" custT="1"/>
      <dgm:spPr/>
      <dgm:t>
        <a:bodyPr/>
        <a:lstStyle/>
        <a:p>
          <a:r>
            <a:rPr lang="en-GB" sz="700" kern="1200" dirty="0"/>
            <a:t>The </a:t>
          </a:r>
          <a:r>
            <a:rPr lang="en-GB" sz="700" b="1" kern="1200" dirty="0">
              <a:solidFill>
                <a:srgbClr val="519137"/>
              </a:solidFill>
              <a:latin typeface="Arial"/>
              <a:ea typeface="+mn-ea"/>
              <a:cs typeface="+mn-cs"/>
            </a:rPr>
            <a:t>Review Team </a:t>
          </a:r>
          <a:r>
            <a:rPr lang="en-GB" sz="700" kern="1200" dirty="0"/>
            <a:t>approves selected solution and confirms quality</a:t>
          </a:r>
        </a:p>
      </dgm:t>
    </dgm:pt>
    <dgm:pt modelId="{B08FEE40-5C97-4FB6-941A-45D0B866520A}" type="parTrans" cxnId="{6CF63C87-0F3E-4557-A246-E7D7FAE674EE}">
      <dgm:prSet/>
      <dgm:spPr/>
      <dgm:t>
        <a:bodyPr/>
        <a:lstStyle/>
        <a:p>
          <a:endParaRPr lang="en-GB"/>
        </a:p>
      </dgm:t>
    </dgm:pt>
    <dgm:pt modelId="{797570A2-099E-471D-8C78-E9A2DEFF9038}" type="sibTrans" cxnId="{6CF63C87-0F3E-4557-A246-E7D7FAE674EE}">
      <dgm:prSet/>
      <dgm:spPr/>
      <dgm:t>
        <a:bodyPr/>
        <a:lstStyle/>
        <a:p>
          <a:endParaRPr lang="en-GB"/>
        </a:p>
      </dgm:t>
    </dgm:pt>
    <dgm:pt modelId="{1AF265A4-9072-4161-A521-293F4EE29CFA}">
      <dgm:prSet phldrT="[Text]"/>
      <dgm:spPr/>
      <dgm:t>
        <a:bodyPr/>
        <a:lstStyle/>
        <a:p>
          <a:r>
            <a:rPr lang="en-GB" dirty="0"/>
            <a:t>A </a:t>
          </a:r>
          <a:r>
            <a:rPr lang="en-GB" b="1" dirty="0">
              <a:solidFill>
                <a:srgbClr val="519137"/>
              </a:solidFill>
            </a:rPr>
            <a:t>Gate Review Team (GRT) </a:t>
          </a:r>
          <a:r>
            <a:rPr lang="en-GB" dirty="0"/>
            <a:t>is a group of unbiased people who are involved in the formal review of the project status and evaluation of readiness to proceed to the next phase. </a:t>
          </a:r>
        </a:p>
      </dgm:t>
    </dgm:pt>
    <dgm:pt modelId="{8358008B-74F2-4758-8E7C-E22B3EAF4DDA}" type="parTrans" cxnId="{60C338A5-BC2D-412C-9617-5CAB9ADFDBB6}">
      <dgm:prSet/>
      <dgm:spPr/>
      <dgm:t>
        <a:bodyPr/>
        <a:lstStyle/>
        <a:p>
          <a:endParaRPr lang="en-GB"/>
        </a:p>
      </dgm:t>
    </dgm:pt>
    <dgm:pt modelId="{E901DF5A-80E4-46FC-A867-E867CF939BE9}" type="sibTrans" cxnId="{60C338A5-BC2D-412C-9617-5CAB9ADFDBB6}">
      <dgm:prSet/>
      <dgm:spPr/>
      <dgm:t>
        <a:bodyPr/>
        <a:lstStyle/>
        <a:p>
          <a:endParaRPr lang="en-GB"/>
        </a:p>
      </dgm:t>
    </dgm:pt>
    <dgm:pt modelId="{A791EC00-9EE9-4144-A290-AB8FE2EF250D}">
      <dgm:prSet phldrT="[Text]"/>
      <dgm:spPr/>
      <dgm:t>
        <a:bodyPr/>
        <a:lstStyle/>
        <a:p>
          <a:r>
            <a:rPr kumimoji="0" lang="en-US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rPr>
            <a:t>Project has </a:t>
          </a:r>
          <a:r>
            <a:rPr kumimoji="0" lang="en-US" b="0" i="1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rPr>
            <a:t>optimum solution </a:t>
          </a:r>
          <a:r>
            <a:rPr kumimoji="0" lang="en-US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rPr>
            <a:t>and </a:t>
          </a:r>
          <a:r>
            <a:rPr kumimoji="0" lang="en-US" b="0" i="1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rPr>
            <a:t>frozen</a:t>
          </a:r>
          <a:r>
            <a:rPr kumimoji="0" lang="en-US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rPr>
            <a:t> the scope. </a:t>
          </a:r>
        </a:p>
        <a:p>
          <a:r>
            <a:rPr kumimoji="0" lang="en-US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rPr>
            <a:t>Technical risks are understood and managed</a:t>
          </a:r>
        </a:p>
        <a:p>
          <a:r>
            <a:rPr kumimoji="0" lang="en-US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rPr>
            <a:t>All deliverables are complete and meet the required level of quality </a:t>
          </a:r>
          <a:endParaRPr lang="en-GB" dirty="0"/>
        </a:p>
      </dgm:t>
    </dgm:pt>
    <dgm:pt modelId="{C35D8AAE-C640-4196-B4AC-801069E9F808}" type="parTrans" cxnId="{5C9BAB3B-BE3C-4AD9-9103-0801CB63A9A8}">
      <dgm:prSet/>
      <dgm:spPr/>
      <dgm:t>
        <a:bodyPr/>
        <a:lstStyle/>
        <a:p>
          <a:endParaRPr lang="en-GB"/>
        </a:p>
      </dgm:t>
    </dgm:pt>
    <dgm:pt modelId="{C01D61B7-73F3-4BE9-A39C-8714D821468F}" type="sibTrans" cxnId="{5C9BAB3B-BE3C-4AD9-9103-0801CB63A9A8}">
      <dgm:prSet/>
      <dgm:spPr/>
      <dgm:t>
        <a:bodyPr/>
        <a:lstStyle/>
        <a:p>
          <a:endParaRPr lang="en-GB"/>
        </a:p>
      </dgm:t>
    </dgm:pt>
    <dgm:pt modelId="{A5A0110C-1961-4357-9DC1-4013B883381D}">
      <dgm:prSet phldrT="[Text]"/>
      <dgm:spPr>
        <a:solidFill>
          <a:srgbClr val="007681"/>
        </a:solidFill>
      </dgm:spPr>
      <dgm:t>
        <a:bodyPr/>
        <a:lstStyle/>
        <a:p>
          <a:r>
            <a:rPr lang="en-GB" dirty="0"/>
            <a:t> Gate Approval team</a:t>
          </a:r>
        </a:p>
      </dgm:t>
    </dgm:pt>
    <dgm:pt modelId="{F76D8392-B972-47CC-A9A3-17D8D4506D8F}" type="parTrans" cxnId="{3B98F5FA-9EB3-4BDC-8803-34FADD200280}">
      <dgm:prSet/>
      <dgm:spPr/>
      <dgm:t>
        <a:bodyPr/>
        <a:lstStyle/>
        <a:p>
          <a:endParaRPr lang="en-GB"/>
        </a:p>
      </dgm:t>
    </dgm:pt>
    <dgm:pt modelId="{728AC1F6-53FD-479D-B0CE-C681B8D23804}" type="sibTrans" cxnId="{3B98F5FA-9EB3-4BDC-8803-34FADD200280}">
      <dgm:prSet/>
      <dgm:spPr/>
      <dgm:t>
        <a:bodyPr/>
        <a:lstStyle/>
        <a:p>
          <a:endParaRPr lang="en-GB"/>
        </a:p>
      </dgm:t>
    </dgm:pt>
    <dgm:pt modelId="{27B97922-1168-4C6F-ACE8-0793B1B27220}">
      <dgm:prSet phldrT="[Text]" custT="1"/>
      <dgm:spPr/>
      <dgm:t>
        <a:bodyPr/>
        <a:lstStyle/>
        <a:p>
          <a:r>
            <a:rPr lang="en-GB" sz="700" kern="1200" dirty="0"/>
            <a:t>The P</a:t>
          </a:r>
          <a:r>
            <a:rPr lang="en-GB" sz="700" b="1" kern="1200" dirty="0">
              <a:solidFill>
                <a:srgbClr val="519137"/>
              </a:solidFill>
              <a:latin typeface="Arial"/>
              <a:ea typeface="+mn-ea"/>
              <a:cs typeface="+mn-cs"/>
            </a:rPr>
            <a:t>roject team </a:t>
          </a:r>
          <a:r>
            <a:rPr lang="en-GB" sz="700" kern="1200" dirty="0"/>
            <a:t>selects the best solution and completes deliverables for each phase </a:t>
          </a:r>
        </a:p>
      </dgm:t>
    </dgm:pt>
    <dgm:pt modelId="{E34F7E1B-0EFD-420F-9E74-CCFEC78AA325}" type="parTrans" cxnId="{1DE22E51-65B2-4748-B4F5-D11857A47947}">
      <dgm:prSet/>
      <dgm:spPr/>
      <dgm:t>
        <a:bodyPr/>
        <a:lstStyle/>
        <a:p>
          <a:endParaRPr lang="en-GB"/>
        </a:p>
      </dgm:t>
    </dgm:pt>
    <dgm:pt modelId="{752D127F-2CE8-4522-ADB1-3345D71156D7}" type="sibTrans" cxnId="{1DE22E51-65B2-4748-B4F5-D11857A47947}">
      <dgm:prSet/>
      <dgm:spPr/>
      <dgm:t>
        <a:bodyPr/>
        <a:lstStyle/>
        <a:p>
          <a:endParaRPr lang="en-GB"/>
        </a:p>
      </dgm:t>
    </dgm:pt>
    <dgm:pt modelId="{78DE2B7F-D2EA-4BF5-A934-1A5D1965C120}">
      <dgm:prSet phldrT="[Text]"/>
      <dgm:spPr/>
      <dgm:t>
        <a:bodyPr/>
        <a:lstStyle/>
        <a:p>
          <a:r>
            <a:rPr lang="en-GB" dirty="0"/>
            <a:t>Team Composition: </a:t>
          </a:r>
        </a:p>
        <a:p>
          <a:r>
            <a:rPr lang="en-GB" dirty="0"/>
            <a:t>Portfolio owner </a:t>
          </a:r>
        </a:p>
        <a:p>
          <a:r>
            <a:rPr lang="en-GB" dirty="0"/>
            <a:t>Financial lead</a:t>
          </a:r>
        </a:p>
        <a:p>
          <a:r>
            <a:rPr lang="en-GB" dirty="0"/>
            <a:t>&gt;500K: Global Eng &amp;Data Sc Lead </a:t>
          </a:r>
        </a:p>
        <a:p>
          <a:r>
            <a:rPr lang="en-GB" dirty="0"/>
            <a:t>&lt;500K: Local Op&amp; Eng lead </a:t>
          </a:r>
        </a:p>
      </dgm:t>
    </dgm:pt>
    <dgm:pt modelId="{A45D3627-1E52-4D72-95F5-C68C8B9BA6C0}" type="parTrans" cxnId="{BE435FE4-0EBD-4BA9-92F0-627688CE24FD}">
      <dgm:prSet/>
      <dgm:spPr/>
      <dgm:t>
        <a:bodyPr/>
        <a:lstStyle/>
        <a:p>
          <a:endParaRPr lang="en-GB"/>
        </a:p>
      </dgm:t>
    </dgm:pt>
    <dgm:pt modelId="{1B44F19B-6814-4A1D-8633-BE30F1638A17}" type="sibTrans" cxnId="{BE435FE4-0EBD-4BA9-92F0-627688CE24FD}">
      <dgm:prSet/>
      <dgm:spPr/>
      <dgm:t>
        <a:bodyPr/>
        <a:lstStyle/>
        <a:p>
          <a:endParaRPr lang="en-GB"/>
        </a:p>
      </dgm:t>
    </dgm:pt>
    <dgm:pt modelId="{DFF82D11-1AC0-4904-B99E-94C4B368FD4B}">
      <dgm:prSet phldrT="[Text]"/>
      <dgm:spPr/>
      <dgm:t>
        <a:bodyPr/>
        <a:lstStyle/>
        <a:p>
          <a:r>
            <a:rPr lang="en-GB" dirty="0"/>
            <a:t>Team Composition: </a:t>
          </a:r>
        </a:p>
        <a:p>
          <a:r>
            <a:rPr lang="en-GB" dirty="0"/>
            <a:t>PM, Sponsor, BPM, </a:t>
          </a:r>
        </a:p>
        <a:p>
          <a:r>
            <a:rPr lang="en-GB" dirty="0"/>
            <a:t>Functional Leads </a:t>
          </a:r>
        </a:p>
      </dgm:t>
    </dgm:pt>
    <dgm:pt modelId="{B732E9FC-B781-46EB-8767-BC91FEF238A9}" type="parTrans" cxnId="{444A7DB1-9DB4-4362-9FB4-5FFBD3E694EF}">
      <dgm:prSet/>
      <dgm:spPr/>
      <dgm:t>
        <a:bodyPr/>
        <a:lstStyle/>
        <a:p>
          <a:endParaRPr lang="en-GB"/>
        </a:p>
      </dgm:t>
    </dgm:pt>
    <dgm:pt modelId="{22C7B5B6-02A2-41D5-ACE3-E76840965BBF}" type="sibTrans" cxnId="{444A7DB1-9DB4-4362-9FB4-5FFBD3E694EF}">
      <dgm:prSet/>
      <dgm:spPr/>
      <dgm:t>
        <a:bodyPr/>
        <a:lstStyle/>
        <a:p>
          <a:endParaRPr lang="en-GB"/>
        </a:p>
      </dgm:t>
    </dgm:pt>
    <dgm:pt modelId="{F1F05593-DF7D-4680-AC74-442247D74C6D}">
      <dgm:prSet phldrT="[Text]"/>
      <dgm:spPr>
        <a:solidFill>
          <a:srgbClr val="658D1B"/>
        </a:solidFill>
      </dgm:spPr>
      <dgm:t>
        <a:bodyPr/>
        <a:lstStyle/>
        <a:p>
          <a:r>
            <a:rPr lang="en-GB" dirty="0"/>
            <a:t>Steering committee </a:t>
          </a:r>
        </a:p>
      </dgm:t>
    </dgm:pt>
    <dgm:pt modelId="{79F99FA8-6A96-47C7-B7E9-5DF5C72DE3DB}" type="parTrans" cxnId="{41CD63F8-BE48-46D5-A53D-8CDAF28F0823}">
      <dgm:prSet/>
      <dgm:spPr/>
      <dgm:t>
        <a:bodyPr/>
        <a:lstStyle/>
        <a:p>
          <a:endParaRPr lang="en-GB"/>
        </a:p>
      </dgm:t>
    </dgm:pt>
    <dgm:pt modelId="{84624166-272C-43C6-A2F9-54BBF25B19C4}" type="sibTrans" cxnId="{41CD63F8-BE48-46D5-A53D-8CDAF28F0823}">
      <dgm:prSet/>
      <dgm:spPr/>
      <dgm:t>
        <a:bodyPr/>
        <a:lstStyle/>
        <a:p>
          <a:endParaRPr lang="en-GB"/>
        </a:p>
      </dgm:t>
    </dgm:pt>
    <dgm:pt modelId="{33E16489-F1A5-4CF5-90AD-CCF0508859C9}">
      <dgm:prSet phldrT="[Text]"/>
      <dgm:spPr/>
      <dgm:t>
        <a:bodyPr/>
        <a:lstStyle/>
        <a:p>
          <a:r>
            <a:rPr lang="en-GB" dirty="0"/>
            <a:t>A </a:t>
          </a:r>
          <a:r>
            <a:rPr lang="en-GB" b="1" dirty="0">
              <a:solidFill>
                <a:srgbClr val="519137"/>
              </a:solidFill>
            </a:rPr>
            <a:t>Steering Committee </a:t>
          </a:r>
          <a:r>
            <a:rPr lang="en-GB" dirty="0"/>
            <a:t>is usually a group of high-level stakeholders who are responsible for providing guidance/ strategy </a:t>
          </a:r>
        </a:p>
      </dgm:t>
    </dgm:pt>
    <dgm:pt modelId="{84ABBDA2-30CD-4484-9137-8923A07DF97A}" type="parTrans" cxnId="{F984C1A9-88FE-4460-AA91-211B3D1402C2}">
      <dgm:prSet/>
      <dgm:spPr/>
      <dgm:t>
        <a:bodyPr/>
        <a:lstStyle/>
        <a:p>
          <a:endParaRPr lang="en-GB"/>
        </a:p>
      </dgm:t>
    </dgm:pt>
    <dgm:pt modelId="{510A1DAD-E6A6-4715-BAA5-318165EF96E1}" type="sibTrans" cxnId="{F984C1A9-88FE-4460-AA91-211B3D1402C2}">
      <dgm:prSet/>
      <dgm:spPr/>
      <dgm:t>
        <a:bodyPr/>
        <a:lstStyle/>
        <a:p>
          <a:endParaRPr lang="en-GB"/>
        </a:p>
      </dgm:t>
    </dgm:pt>
    <dgm:pt modelId="{7B66DE3B-F478-4737-8AC0-3EB114660516}">
      <dgm:prSet phldrT="[Text]"/>
      <dgm:spPr/>
      <dgm:t>
        <a:bodyPr/>
        <a:lstStyle/>
        <a:p>
          <a:r>
            <a:rPr lang="en-GB" dirty="0"/>
            <a:t>Team composition: </a:t>
          </a:r>
        </a:p>
        <a:p>
          <a:r>
            <a:rPr lang="en-GB" dirty="0"/>
            <a:t>R&amp;D and business leaders </a:t>
          </a:r>
        </a:p>
      </dgm:t>
    </dgm:pt>
    <dgm:pt modelId="{52A071D6-7E79-48BA-8FBA-24EC0695C416}" type="parTrans" cxnId="{3A205FB3-13B1-48FA-8BAE-524948EFA61C}">
      <dgm:prSet/>
      <dgm:spPr/>
      <dgm:t>
        <a:bodyPr/>
        <a:lstStyle/>
        <a:p>
          <a:endParaRPr lang="en-GB"/>
        </a:p>
      </dgm:t>
    </dgm:pt>
    <dgm:pt modelId="{40B9E2B9-20BC-4DAC-9972-F039EAC2A334}" type="sibTrans" cxnId="{3A205FB3-13B1-48FA-8BAE-524948EFA61C}">
      <dgm:prSet/>
      <dgm:spPr/>
      <dgm:t>
        <a:bodyPr/>
        <a:lstStyle/>
        <a:p>
          <a:endParaRPr lang="en-GB"/>
        </a:p>
      </dgm:t>
    </dgm:pt>
    <dgm:pt modelId="{FA6050E3-092A-4EF4-A433-E8704F390646}">
      <dgm:prSet phldrT="[Text]"/>
      <dgm:spPr/>
      <dgm:t>
        <a:bodyPr/>
        <a:lstStyle/>
        <a:p>
          <a:r>
            <a:rPr lang="en-US" dirty="0"/>
            <a:t>Check completeness of deliverables </a:t>
          </a:r>
        </a:p>
        <a:p>
          <a:r>
            <a:rPr lang="en-US" dirty="0"/>
            <a:t>Go/no go decision </a:t>
          </a:r>
        </a:p>
        <a:p>
          <a:r>
            <a:rPr lang="en-US" dirty="0">
              <a:solidFill>
                <a:schemeClr val="dk1"/>
              </a:solidFill>
              <a:latin typeface="+mn-lt"/>
              <a:ea typeface="+mn-ea"/>
              <a:cs typeface="+mn-cs"/>
            </a:rPr>
            <a:t>Approve next phase (plan, budget and resources) </a:t>
          </a:r>
        </a:p>
        <a:p>
          <a:r>
            <a:rPr lang="en-US" dirty="0">
              <a:solidFill>
                <a:schemeClr val="dk1"/>
              </a:solidFill>
              <a:latin typeface="+mn-lt"/>
              <a:ea typeface="+mn-ea"/>
              <a:cs typeface="+mn-cs"/>
            </a:rPr>
            <a:t>Coaching project sponsors and project managers</a:t>
          </a:r>
          <a:endParaRPr lang="en-GB" dirty="0"/>
        </a:p>
      </dgm:t>
    </dgm:pt>
    <dgm:pt modelId="{C09FA938-A085-45DD-AEEB-8045D79AD558}" type="parTrans" cxnId="{5F9BDB43-3D6C-4666-B004-705EC5596E4F}">
      <dgm:prSet/>
      <dgm:spPr/>
      <dgm:t>
        <a:bodyPr/>
        <a:lstStyle/>
        <a:p>
          <a:endParaRPr lang="en-GB"/>
        </a:p>
      </dgm:t>
    </dgm:pt>
    <dgm:pt modelId="{0BA2D4C6-A437-422E-AD07-9190221FCCE5}" type="sibTrans" cxnId="{5F9BDB43-3D6C-4666-B004-705EC5596E4F}">
      <dgm:prSet/>
      <dgm:spPr/>
      <dgm:t>
        <a:bodyPr/>
        <a:lstStyle/>
        <a:p>
          <a:endParaRPr lang="en-GB"/>
        </a:p>
      </dgm:t>
    </dgm:pt>
    <dgm:pt modelId="{7AD26F36-B633-4FBD-9CA4-9D78B1C9164E}">
      <dgm:prSet phldrT="[Text]" custT="1"/>
      <dgm:spPr/>
      <dgm:t>
        <a:bodyPr/>
        <a:lstStyle/>
        <a:p>
          <a:r>
            <a:rPr lang="en-GB" sz="700" kern="1200" dirty="0"/>
            <a:t>Team Composition: </a:t>
          </a:r>
        </a:p>
        <a:p>
          <a:r>
            <a:rPr lang="en-GB" sz="700" kern="1200" dirty="0"/>
            <a:t>SME’s</a:t>
          </a:r>
        </a:p>
        <a:p>
          <a:r>
            <a:rPr lang="en-GB" sz="700" kern="1200" dirty="0"/>
            <a:t>“The designated SME’s must be independent of the project team” </a:t>
          </a:r>
        </a:p>
      </dgm:t>
    </dgm:pt>
    <dgm:pt modelId="{F5F7EB32-CDDE-4BC3-A056-99654C71AD35}" type="parTrans" cxnId="{060D5005-7715-48EB-90AB-51ACE6098CDA}">
      <dgm:prSet/>
      <dgm:spPr/>
      <dgm:t>
        <a:bodyPr/>
        <a:lstStyle/>
        <a:p>
          <a:endParaRPr lang="en-GB"/>
        </a:p>
      </dgm:t>
    </dgm:pt>
    <dgm:pt modelId="{A0B06B8C-E54A-4400-9861-A5CA62D04D0C}" type="sibTrans" cxnId="{060D5005-7715-48EB-90AB-51ACE6098CDA}">
      <dgm:prSet/>
      <dgm:spPr/>
      <dgm:t>
        <a:bodyPr/>
        <a:lstStyle/>
        <a:p>
          <a:endParaRPr lang="en-GB"/>
        </a:p>
      </dgm:t>
    </dgm:pt>
    <dgm:pt modelId="{1C6C77E7-5316-4F6D-BFA6-2F4CA5B53377}" type="pres">
      <dgm:prSet presAssocID="{04C9A60F-0DEC-4F2D-81D7-F2DFDC480ED2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0E662542-7066-49D7-9306-314A868B289C}" type="pres">
      <dgm:prSet presAssocID="{E5B12B4D-A1E8-448A-BAC0-8B010B32CCF9}" presName="root" presStyleCnt="0"/>
      <dgm:spPr/>
    </dgm:pt>
    <dgm:pt modelId="{C773772D-F159-4F6B-AD52-EAC51D9EE87F}" type="pres">
      <dgm:prSet presAssocID="{E5B12B4D-A1E8-448A-BAC0-8B010B32CCF9}" presName="rootComposite" presStyleCnt="0"/>
      <dgm:spPr/>
    </dgm:pt>
    <dgm:pt modelId="{261BED03-438F-4A49-B8CE-32053DDB390B}" type="pres">
      <dgm:prSet presAssocID="{E5B12B4D-A1E8-448A-BAC0-8B010B32CCF9}" presName="rootText" presStyleLbl="node1" presStyleIdx="0" presStyleCnt="4"/>
      <dgm:spPr/>
    </dgm:pt>
    <dgm:pt modelId="{32A2B6F8-2981-4580-A7C4-AE064B395142}" type="pres">
      <dgm:prSet presAssocID="{E5B12B4D-A1E8-448A-BAC0-8B010B32CCF9}" presName="rootConnector" presStyleLbl="node1" presStyleIdx="0" presStyleCnt="4"/>
      <dgm:spPr/>
    </dgm:pt>
    <dgm:pt modelId="{18E8A079-470D-4320-BF47-B900EA6277D4}" type="pres">
      <dgm:prSet presAssocID="{E5B12B4D-A1E8-448A-BAC0-8B010B32CCF9}" presName="childShape" presStyleCnt="0"/>
      <dgm:spPr/>
    </dgm:pt>
    <dgm:pt modelId="{D7020858-9526-4A35-96EE-B3682D6A67D8}" type="pres">
      <dgm:prSet presAssocID="{E34F7E1B-0EFD-420F-9E74-CCFEC78AA325}" presName="Name13" presStyleLbl="parChTrans1D2" presStyleIdx="0" presStyleCnt="10"/>
      <dgm:spPr/>
    </dgm:pt>
    <dgm:pt modelId="{6570C3A7-B893-457F-8642-263476422DAB}" type="pres">
      <dgm:prSet presAssocID="{27B97922-1168-4C6F-ACE8-0793B1B27220}" presName="childText" presStyleLbl="bgAcc1" presStyleIdx="0" presStyleCnt="10">
        <dgm:presLayoutVars>
          <dgm:bulletEnabled val="1"/>
        </dgm:presLayoutVars>
      </dgm:prSet>
      <dgm:spPr/>
    </dgm:pt>
    <dgm:pt modelId="{5BE8D20B-F693-4B9D-86A5-E0F8197F0C94}" type="pres">
      <dgm:prSet presAssocID="{B732E9FC-B781-46EB-8767-BC91FEF238A9}" presName="Name13" presStyleLbl="parChTrans1D2" presStyleIdx="1" presStyleCnt="10"/>
      <dgm:spPr/>
    </dgm:pt>
    <dgm:pt modelId="{78BADA73-05BF-4C8B-BE68-1D53912B24CF}" type="pres">
      <dgm:prSet presAssocID="{DFF82D11-1AC0-4904-B99E-94C4B368FD4B}" presName="childText" presStyleLbl="bgAcc1" presStyleIdx="1" presStyleCnt="10">
        <dgm:presLayoutVars>
          <dgm:bulletEnabled val="1"/>
        </dgm:presLayoutVars>
      </dgm:prSet>
      <dgm:spPr/>
    </dgm:pt>
    <dgm:pt modelId="{A8326784-FC7D-4B6B-A815-D107D707FD81}" type="pres">
      <dgm:prSet presAssocID="{535B7EC4-63FE-41BC-957F-866F0BB304F3}" presName="root" presStyleCnt="0"/>
      <dgm:spPr/>
    </dgm:pt>
    <dgm:pt modelId="{FA4BAE00-D422-4078-A0E2-DCF9CE0DB6A6}" type="pres">
      <dgm:prSet presAssocID="{535B7EC4-63FE-41BC-957F-866F0BB304F3}" presName="rootComposite" presStyleCnt="0"/>
      <dgm:spPr/>
    </dgm:pt>
    <dgm:pt modelId="{26C02999-583F-44D0-BE6B-21035B27FC44}" type="pres">
      <dgm:prSet presAssocID="{535B7EC4-63FE-41BC-957F-866F0BB304F3}" presName="rootText" presStyleLbl="node1" presStyleIdx="1" presStyleCnt="4"/>
      <dgm:spPr/>
    </dgm:pt>
    <dgm:pt modelId="{F36383E8-BADD-4BEE-B8C6-98C2D133CBE8}" type="pres">
      <dgm:prSet presAssocID="{535B7EC4-63FE-41BC-957F-866F0BB304F3}" presName="rootConnector" presStyleLbl="node1" presStyleIdx="1" presStyleCnt="4"/>
      <dgm:spPr/>
    </dgm:pt>
    <dgm:pt modelId="{D9CDB0F2-F483-4739-AC76-77C0BC88B8C0}" type="pres">
      <dgm:prSet presAssocID="{535B7EC4-63FE-41BC-957F-866F0BB304F3}" presName="childShape" presStyleCnt="0"/>
      <dgm:spPr/>
    </dgm:pt>
    <dgm:pt modelId="{D972A796-108C-4276-83AC-EB009B960B2A}" type="pres">
      <dgm:prSet presAssocID="{B08FEE40-5C97-4FB6-941A-45D0B866520A}" presName="Name13" presStyleLbl="parChTrans1D2" presStyleIdx="2" presStyleCnt="10"/>
      <dgm:spPr/>
    </dgm:pt>
    <dgm:pt modelId="{AF0C6054-786D-4252-A1DB-97504F96F002}" type="pres">
      <dgm:prSet presAssocID="{10F8E80F-17D9-4ECB-80A5-A61A9BF6D8BE}" presName="childText" presStyleLbl="bgAcc1" presStyleIdx="2" presStyleCnt="10">
        <dgm:presLayoutVars>
          <dgm:bulletEnabled val="1"/>
        </dgm:presLayoutVars>
      </dgm:prSet>
      <dgm:spPr/>
    </dgm:pt>
    <dgm:pt modelId="{CD93A4CA-6F95-4BB1-B0CD-AD4AA1B1E9B5}" type="pres">
      <dgm:prSet presAssocID="{F5F7EB32-CDDE-4BC3-A056-99654C71AD35}" presName="Name13" presStyleLbl="parChTrans1D2" presStyleIdx="3" presStyleCnt="10"/>
      <dgm:spPr/>
    </dgm:pt>
    <dgm:pt modelId="{B0C196C5-3BF1-4F61-93DA-B2ED8590EA54}" type="pres">
      <dgm:prSet presAssocID="{7AD26F36-B633-4FBD-9CA4-9D78B1C9164E}" presName="childText" presStyleLbl="bgAcc1" presStyleIdx="3" presStyleCnt="10">
        <dgm:presLayoutVars>
          <dgm:bulletEnabled val="1"/>
        </dgm:presLayoutVars>
      </dgm:prSet>
      <dgm:spPr/>
    </dgm:pt>
    <dgm:pt modelId="{02C392F4-7C18-4CF9-94A6-C41E883DB34E}" type="pres">
      <dgm:prSet presAssocID="{C35D8AAE-C640-4196-B4AC-801069E9F808}" presName="Name13" presStyleLbl="parChTrans1D2" presStyleIdx="4" presStyleCnt="10"/>
      <dgm:spPr/>
    </dgm:pt>
    <dgm:pt modelId="{634538B9-0B22-47BC-B791-257994E8F3F7}" type="pres">
      <dgm:prSet presAssocID="{A791EC00-9EE9-4144-A290-AB8FE2EF250D}" presName="childText" presStyleLbl="bgAcc1" presStyleIdx="4" presStyleCnt="10">
        <dgm:presLayoutVars>
          <dgm:bulletEnabled val="1"/>
        </dgm:presLayoutVars>
      </dgm:prSet>
      <dgm:spPr/>
    </dgm:pt>
    <dgm:pt modelId="{9FCEDB33-8BA6-4027-99A4-C09BCC5B4B64}" type="pres">
      <dgm:prSet presAssocID="{A5A0110C-1961-4357-9DC1-4013B883381D}" presName="root" presStyleCnt="0"/>
      <dgm:spPr/>
    </dgm:pt>
    <dgm:pt modelId="{F4EFA8B0-328A-4541-A8A0-350F78F9E98B}" type="pres">
      <dgm:prSet presAssocID="{A5A0110C-1961-4357-9DC1-4013B883381D}" presName="rootComposite" presStyleCnt="0"/>
      <dgm:spPr/>
    </dgm:pt>
    <dgm:pt modelId="{9B5E627A-D8A5-4D61-9827-2DCDA3D3835E}" type="pres">
      <dgm:prSet presAssocID="{A5A0110C-1961-4357-9DC1-4013B883381D}" presName="rootText" presStyleLbl="node1" presStyleIdx="2" presStyleCnt="4"/>
      <dgm:spPr/>
    </dgm:pt>
    <dgm:pt modelId="{E767ABE5-8EE2-4962-B958-29D81ADD0B34}" type="pres">
      <dgm:prSet presAssocID="{A5A0110C-1961-4357-9DC1-4013B883381D}" presName="rootConnector" presStyleLbl="node1" presStyleIdx="2" presStyleCnt="4"/>
      <dgm:spPr/>
    </dgm:pt>
    <dgm:pt modelId="{79F59E93-E07D-4FD0-8E79-3A903B608402}" type="pres">
      <dgm:prSet presAssocID="{A5A0110C-1961-4357-9DC1-4013B883381D}" presName="childShape" presStyleCnt="0"/>
      <dgm:spPr/>
    </dgm:pt>
    <dgm:pt modelId="{8CC60DAD-5E1F-40E3-8C63-D6DC48D696DC}" type="pres">
      <dgm:prSet presAssocID="{8358008B-74F2-4758-8E7C-E22B3EAF4DDA}" presName="Name13" presStyleLbl="parChTrans1D2" presStyleIdx="5" presStyleCnt="10"/>
      <dgm:spPr/>
    </dgm:pt>
    <dgm:pt modelId="{B88054EB-C49F-480C-A696-4C15E87A1F2B}" type="pres">
      <dgm:prSet presAssocID="{1AF265A4-9072-4161-A521-293F4EE29CFA}" presName="childText" presStyleLbl="bgAcc1" presStyleIdx="5" presStyleCnt="10">
        <dgm:presLayoutVars>
          <dgm:bulletEnabled val="1"/>
        </dgm:presLayoutVars>
      </dgm:prSet>
      <dgm:spPr/>
    </dgm:pt>
    <dgm:pt modelId="{64A9568A-5478-42F1-8624-7343273A3C69}" type="pres">
      <dgm:prSet presAssocID="{A45D3627-1E52-4D72-95F5-C68C8B9BA6C0}" presName="Name13" presStyleLbl="parChTrans1D2" presStyleIdx="6" presStyleCnt="10"/>
      <dgm:spPr/>
    </dgm:pt>
    <dgm:pt modelId="{B2074EEB-6A6C-4B2E-9BF4-C812C15B9E8E}" type="pres">
      <dgm:prSet presAssocID="{78DE2B7F-D2EA-4BF5-A934-1A5D1965C120}" presName="childText" presStyleLbl="bgAcc1" presStyleIdx="6" presStyleCnt="10">
        <dgm:presLayoutVars>
          <dgm:bulletEnabled val="1"/>
        </dgm:presLayoutVars>
      </dgm:prSet>
      <dgm:spPr/>
    </dgm:pt>
    <dgm:pt modelId="{70E19063-16E1-485C-81E2-B25AB706F988}" type="pres">
      <dgm:prSet presAssocID="{C09FA938-A085-45DD-AEEB-8045D79AD558}" presName="Name13" presStyleLbl="parChTrans1D2" presStyleIdx="7" presStyleCnt="10"/>
      <dgm:spPr/>
    </dgm:pt>
    <dgm:pt modelId="{3D7071B9-D39F-4C5C-B1C3-A5A1122C1110}" type="pres">
      <dgm:prSet presAssocID="{FA6050E3-092A-4EF4-A433-E8704F390646}" presName="childText" presStyleLbl="bgAcc1" presStyleIdx="7" presStyleCnt="10">
        <dgm:presLayoutVars>
          <dgm:bulletEnabled val="1"/>
        </dgm:presLayoutVars>
      </dgm:prSet>
      <dgm:spPr/>
    </dgm:pt>
    <dgm:pt modelId="{073CE127-F6D8-4187-9EAD-29ED2E7BA3F4}" type="pres">
      <dgm:prSet presAssocID="{F1F05593-DF7D-4680-AC74-442247D74C6D}" presName="root" presStyleCnt="0"/>
      <dgm:spPr/>
    </dgm:pt>
    <dgm:pt modelId="{7F208314-4BC4-41DD-9ECE-DD0039CAA382}" type="pres">
      <dgm:prSet presAssocID="{F1F05593-DF7D-4680-AC74-442247D74C6D}" presName="rootComposite" presStyleCnt="0"/>
      <dgm:spPr/>
    </dgm:pt>
    <dgm:pt modelId="{7E7137E9-A526-49A0-AD1E-D4FE48744BAC}" type="pres">
      <dgm:prSet presAssocID="{F1F05593-DF7D-4680-AC74-442247D74C6D}" presName="rootText" presStyleLbl="node1" presStyleIdx="3" presStyleCnt="4"/>
      <dgm:spPr/>
    </dgm:pt>
    <dgm:pt modelId="{5C980B83-FCB6-4AA4-A0BB-CB5856B8CCE5}" type="pres">
      <dgm:prSet presAssocID="{F1F05593-DF7D-4680-AC74-442247D74C6D}" presName="rootConnector" presStyleLbl="node1" presStyleIdx="3" presStyleCnt="4"/>
      <dgm:spPr/>
    </dgm:pt>
    <dgm:pt modelId="{83EF65DE-B943-4E3B-BDD5-8E3C0A54568F}" type="pres">
      <dgm:prSet presAssocID="{F1F05593-DF7D-4680-AC74-442247D74C6D}" presName="childShape" presStyleCnt="0"/>
      <dgm:spPr/>
    </dgm:pt>
    <dgm:pt modelId="{B07F9DDB-66BC-41C4-B44A-EBC0E6EA2476}" type="pres">
      <dgm:prSet presAssocID="{84ABBDA2-30CD-4484-9137-8923A07DF97A}" presName="Name13" presStyleLbl="parChTrans1D2" presStyleIdx="8" presStyleCnt="10"/>
      <dgm:spPr/>
    </dgm:pt>
    <dgm:pt modelId="{EAF57E78-6643-4FB2-848D-E1A38177599B}" type="pres">
      <dgm:prSet presAssocID="{33E16489-F1A5-4CF5-90AD-CCF0508859C9}" presName="childText" presStyleLbl="bgAcc1" presStyleIdx="8" presStyleCnt="10">
        <dgm:presLayoutVars>
          <dgm:bulletEnabled val="1"/>
        </dgm:presLayoutVars>
      </dgm:prSet>
      <dgm:spPr/>
    </dgm:pt>
    <dgm:pt modelId="{FC8CF04B-B9E6-4105-AE64-66F35320C1E9}" type="pres">
      <dgm:prSet presAssocID="{52A071D6-7E79-48BA-8FBA-24EC0695C416}" presName="Name13" presStyleLbl="parChTrans1D2" presStyleIdx="9" presStyleCnt="10"/>
      <dgm:spPr/>
    </dgm:pt>
    <dgm:pt modelId="{3D27EF4D-4128-401E-89EE-578F7597AD7D}" type="pres">
      <dgm:prSet presAssocID="{7B66DE3B-F478-4737-8AC0-3EB114660516}" presName="childText" presStyleLbl="bgAcc1" presStyleIdx="9" presStyleCnt="10">
        <dgm:presLayoutVars>
          <dgm:bulletEnabled val="1"/>
        </dgm:presLayoutVars>
      </dgm:prSet>
      <dgm:spPr/>
    </dgm:pt>
  </dgm:ptLst>
  <dgm:cxnLst>
    <dgm:cxn modelId="{0B65B104-1569-43BD-97F4-D755B2F9B4DA}" type="presOf" srcId="{1AF265A4-9072-4161-A521-293F4EE29CFA}" destId="{B88054EB-C49F-480C-A696-4C15E87A1F2B}" srcOrd="0" destOrd="0" presId="urn:microsoft.com/office/officeart/2005/8/layout/hierarchy3"/>
    <dgm:cxn modelId="{060D5005-7715-48EB-90AB-51ACE6098CDA}" srcId="{535B7EC4-63FE-41BC-957F-866F0BB304F3}" destId="{7AD26F36-B633-4FBD-9CA4-9D78B1C9164E}" srcOrd="1" destOrd="0" parTransId="{F5F7EB32-CDDE-4BC3-A056-99654C71AD35}" sibTransId="{A0B06B8C-E54A-4400-9861-A5CA62D04D0C}"/>
    <dgm:cxn modelId="{C0692219-F7DF-4667-B7BF-967262B34F7C}" type="presOf" srcId="{F1F05593-DF7D-4680-AC74-442247D74C6D}" destId="{5C980B83-FCB6-4AA4-A0BB-CB5856B8CCE5}" srcOrd="1" destOrd="0" presId="urn:microsoft.com/office/officeart/2005/8/layout/hierarchy3"/>
    <dgm:cxn modelId="{A523041E-0BC0-4BC9-B616-32930BF77C97}" type="presOf" srcId="{F5F7EB32-CDDE-4BC3-A056-99654C71AD35}" destId="{CD93A4CA-6F95-4BB1-B0CD-AD4AA1B1E9B5}" srcOrd="0" destOrd="0" presId="urn:microsoft.com/office/officeart/2005/8/layout/hierarchy3"/>
    <dgm:cxn modelId="{683F7528-A6C7-4A6E-A9D3-5DEBA76EDB40}" type="presOf" srcId="{78DE2B7F-D2EA-4BF5-A934-1A5D1965C120}" destId="{B2074EEB-6A6C-4B2E-9BF4-C812C15B9E8E}" srcOrd="0" destOrd="0" presId="urn:microsoft.com/office/officeart/2005/8/layout/hierarchy3"/>
    <dgm:cxn modelId="{6D9A0F29-E880-45CE-9597-5DA52E65035F}" type="presOf" srcId="{C09FA938-A085-45DD-AEEB-8045D79AD558}" destId="{70E19063-16E1-485C-81E2-B25AB706F988}" srcOrd="0" destOrd="0" presId="urn:microsoft.com/office/officeart/2005/8/layout/hierarchy3"/>
    <dgm:cxn modelId="{3103DD2D-5EB7-4E7F-B6C7-D90DD724B533}" type="presOf" srcId="{535B7EC4-63FE-41BC-957F-866F0BB304F3}" destId="{F36383E8-BADD-4BEE-B8C6-98C2D133CBE8}" srcOrd="1" destOrd="0" presId="urn:microsoft.com/office/officeart/2005/8/layout/hierarchy3"/>
    <dgm:cxn modelId="{2E741F2E-28EF-4086-AD85-BE39D41910ED}" type="presOf" srcId="{E5B12B4D-A1E8-448A-BAC0-8B010B32CCF9}" destId="{32A2B6F8-2981-4580-A7C4-AE064B395142}" srcOrd="1" destOrd="0" presId="urn:microsoft.com/office/officeart/2005/8/layout/hierarchy3"/>
    <dgm:cxn modelId="{E583F72E-0098-4D77-8F3D-4CC6C7E3CE96}" type="presOf" srcId="{B08FEE40-5C97-4FB6-941A-45D0B866520A}" destId="{D972A796-108C-4276-83AC-EB009B960B2A}" srcOrd="0" destOrd="0" presId="urn:microsoft.com/office/officeart/2005/8/layout/hierarchy3"/>
    <dgm:cxn modelId="{5C9BAB3B-BE3C-4AD9-9103-0801CB63A9A8}" srcId="{535B7EC4-63FE-41BC-957F-866F0BB304F3}" destId="{A791EC00-9EE9-4144-A290-AB8FE2EF250D}" srcOrd="2" destOrd="0" parTransId="{C35D8AAE-C640-4196-B4AC-801069E9F808}" sibTransId="{C01D61B7-73F3-4BE9-A39C-8714D821468F}"/>
    <dgm:cxn modelId="{D5B4FA3B-186B-4E71-BF11-50F706708458}" type="presOf" srcId="{33E16489-F1A5-4CF5-90AD-CCF0508859C9}" destId="{EAF57E78-6643-4FB2-848D-E1A38177599B}" srcOrd="0" destOrd="0" presId="urn:microsoft.com/office/officeart/2005/8/layout/hierarchy3"/>
    <dgm:cxn modelId="{5F9BDB43-3D6C-4666-B004-705EC5596E4F}" srcId="{A5A0110C-1961-4357-9DC1-4013B883381D}" destId="{FA6050E3-092A-4EF4-A433-E8704F390646}" srcOrd="2" destOrd="0" parTransId="{C09FA938-A085-45DD-AEEB-8045D79AD558}" sibTransId="{0BA2D4C6-A437-422E-AD07-9190221FCCE5}"/>
    <dgm:cxn modelId="{69389767-C0EE-40D2-A4B2-43D53B702760}" type="presOf" srcId="{10F8E80F-17D9-4ECB-80A5-A61A9BF6D8BE}" destId="{AF0C6054-786D-4252-A1DB-97504F96F002}" srcOrd="0" destOrd="0" presId="urn:microsoft.com/office/officeart/2005/8/layout/hierarchy3"/>
    <dgm:cxn modelId="{6425FE4C-310D-4139-8EDD-71DC639E483D}" type="presOf" srcId="{C35D8AAE-C640-4196-B4AC-801069E9F808}" destId="{02C392F4-7C18-4CF9-94A6-C41E883DB34E}" srcOrd="0" destOrd="0" presId="urn:microsoft.com/office/officeart/2005/8/layout/hierarchy3"/>
    <dgm:cxn modelId="{9D1C354F-2476-4084-B8E7-7D2CF58BD6CB}" srcId="{04C9A60F-0DEC-4F2D-81D7-F2DFDC480ED2}" destId="{E5B12B4D-A1E8-448A-BAC0-8B010B32CCF9}" srcOrd="0" destOrd="0" parTransId="{73F9A669-C434-4436-BDB0-98762495278A}" sibTransId="{163F17A5-E516-48E8-8EAC-CE3067151DA9}"/>
    <dgm:cxn modelId="{1DE22E51-65B2-4748-B4F5-D11857A47947}" srcId="{E5B12B4D-A1E8-448A-BAC0-8B010B32CCF9}" destId="{27B97922-1168-4C6F-ACE8-0793B1B27220}" srcOrd="0" destOrd="0" parTransId="{E34F7E1B-0EFD-420F-9E74-CCFEC78AA325}" sibTransId="{752D127F-2CE8-4522-ADB1-3345D71156D7}"/>
    <dgm:cxn modelId="{F5441C53-D59E-413D-8CEE-C0466A04DCCD}" type="presOf" srcId="{535B7EC4-63FE-41BC-957F-866F0BB304F3}" destId="{26C02999-583F-44D0-BE6B-21035B27FC44}" srcOrd="0" destOrd="0" presId="urn:microsoft.com/office/officeart/2005/8/layout/hierarchy3"/>
    <dgm:cxn modelId="{D810FE55-E4B3-447E-A9D8-98DB5888380A}" type="presOf" srcId="{DFF82D11-1AC0-4904-B99E-94C4B368FD4B}" destId="{78BADA73-05BF-4C8B-BE68-1D53912B24CF}" srcOrd="0" destOrd="0" presId="urn:microsoft.com/office/officeart/2005/8/layout/hierarchy3"/>
    <dgm:cxn modelId="{A407E47A-44E2-46FC-B29A-29D6550ADBF8}" type="presOf" srcId="{E34F7E1B-0EFD-420F-9E74-CCFEC78AA325}" destId="{D7020858-9526-4A35-96EE-B3682D6A67D8}" srcOrd="0" destOrd="0" presId="urn:microsoft.com/office/officeart/2005/8/layout/hierarchy3"/>
    <dgm:cxn modelId="{21DC077C-95F6-4F48-B873-E8926E03B4D1}" type="presOf" srcId="{7AD26F36-B633-4FBD-9CA4-9D78B1C9164E}" destId="{B0C196C5-3BF1-4F61-93DA-B2ED8590EA54}" srcOrd="0" destOrd="0" presId="urn:microsoft.com/office/officeart/2005/8/layout/hierarchy3"/>
    <dgm:cxn modelId="{6CF63C87-0F3E-4557-A246-E7D7FAE674EE}" srcId="{535B7EC4-63FE-41BC-957F-866F0BB304F3}" destId="{10F8E80F-17D9-4ECB-80A5-A61A9BF6D8BE}" srcOrd="0" destOrd="0" parTransId="{B08FEE40-5C97-4FB6-941A-45D0B866520A}" sibTransId="{797570A2-099E-471D-8C78-E9A2DEFF9038}"/>
    <dgm:cxn modelId="{6180BD8E-DAF3-4B5A-BF14-40627FAA1715}" type="presOf" srcId="{84ABBDA2-30CD-4484-9137-8923A07DF97A}" destId="{B07F9DDB-66BC-41C4-B44A-EBC0E6EA2476}" srcOrd="0" destOrd="0" presId="urn:microsoft.com/office/officeart/2005/8/layout/hierarchy3"/>
    <dgm:cxn modelId="{FF536491-9D60-4E94-AC78-67C71F5E78C6}" type="presOf" srcId="{FA6050E3-092A-4EF4-A433-E8704F390646}" destId="{3D7071B9-D39F-4C5C-B1C3-A5A1122C1110}" srcOrd="0" destOrd="0" presId="urn:microsoft.com/office/officeart/2005/8/layout/hierarchy3"/>
    <dgm:cxn modelId="{4636E392-5027-4546-86A0-A02EDC099089}" srcId="{04C9A60F-0DEC-4F2D-81D7-F2DFDC480ED2}" destId="{535B7EC4-63FE-41BC-957F-866F0BB304F3}" srcOrd="1" destOrd="0" parTransId="{86702FDC-B0DF-4732-B29D-4F6AB5AFC2B4}" sibTransId="{E944F33C-E8A5-4C60-8429-CC32297D25B4}"/>
    <dgm:cxn modelId="{5321809C-F9EE-43DA-825B-280CB929656A}" type="presOf" srcId="{27B97922-1168-4C6F-ACE8-0793B1B27220}" destId="{6570C3A7-B893-457F-8642-263476422DAB}" srcOrd="0" destOrd="0" presId="urn:microsoft.com/office/officeart/2005/8/layout/hierarchy3"/>
    <dgm:cxn modelId="{3C9D39A1-462D-4F55-B9B7-F973C01E9F59}" type="presOf" srcId="{A5A0110C-1961-4357-9DC1-4013B883381D}" destId="{9B5E627A-D8A5-4D61-9827-2DCDA3D3835E}" srcOrd="0" destOrd="0" presId="urn:microsoft.com/office/officeart/2005/8/layout/hierarchy3"/>
    <dgm:cxn modelId="{60C338A5-BC2D-412C-9617-5CAB9ADFDBB6}" srcId="{A5A0110C-1961-4357-9DC1-4013B883381D}" destId="{1AF265A4-9072-4161-A521-293F4EE29CFA}" srcOrd="0" destOrd="0" parTransId="{8358008B-74F2-4758-8E7C-E22B3EAF4DDA}" sibTransId="{E901DF5A-80E4-46FC-A867-E867CF939BE9}"/>
    <dgm:cxn modelId="{5A7BDBA6-49DE-4FEA-83ED-C5057C674602}" type="presOf" srcId="{A5A0110C-1961-4357-9DC1-4013B883381D}" destId="{E767ABE5-8EE2-4962-B958-29D81ADD0B34}" srcOrd="1" destOrd="0" presId="urn:microsoft.com/office/officeart/2005/8/layout/hierarchy3"/>
    <dgm:cxn modelId="{F984C1A9-88FE-4460-AA91-211B3D1402C2}" srcId="{F1F05593-DF7D-4680-AC74-442247D74C6D}" destId="{33E16489-F1A5-4CF5-90AD-CCF0508859C9}" srcOrd="0" destOrd="0" parTransId="{84ABBDA2-30CD-4484-9137-8923A07DF97A}" sibTransId="{510A1DAD-E6A6-4715-BAA5-318165EF96E1}"/>
    <dgm:cxn modelId="{723A20AD-8169-4DA0-945B-98788E6D3F49}" type="presOf" srcId="{A45D3627-1E52-4D72-95F5-C68C8B9BA6C0}" destId="{64A9568A-5478-42F1-8624-7343273A3C69}" srcOrd="0" destOrd="0" presId="urn:microsoft.com/office/officeart/2005/8/layout/hierarchy3"/>
    <dgm:cxn modelId="{A354EBAE-B9DD-42B6-8662-615E378B0BDA}" type="presOf" srcId="{A791EC00-9EE9-4144-A290-AB8FE2EF250D}" destId="{634538B9-0B22-47BC-B791-257994E8F3F7}" srcOrd="0" destOrd="0" presId="urn:microsoft.com/office/officeart/2005/8/layout/hierarchy3"/>
    <dgm:cxn modelId="{444A7DB1-9DB4-4362-9FB4-5FFBD3E694EF}" srcId="{E5B12B4D-A1E8-448A-BAC0-8B010B32CCF9}" destId="{DFF82D11-1AC0-4904-B99E-94C4B368FD4B}" srcOrd="1" destOrd="0" parTransId="{B732E9FC-B781-46EB-8767-BC91FEF238A9}" sibTransId="{22C7B5B6-02A2-41D5-ACE3-E76840965BBF}"/>
    <dgm:cxn modelId="{3A205FB3-13B1-48FA-8BAE-524948EFA61C}" srcId="{F1F05593-DF7D-4680-AC74-442247D74C6D}" destId="{7B66DE3B-F478-4737-8AC0-3EB114660516}" srcOrd="1" destOrd="0" parTransId="{52A071D6-7E79-48BA-8FBA-24EC0695C416}" sibTransId="{40B9E2B9-20BC-4DAC-9972-F039EAC2A334}"/>
    <dgm:cxn modelId="{9F86A2B6-D8BC-42EF-9952-2498B6C4931F}" type="presOf" srcId="{E5B12B4D-A1E8-448A-BAC0-8B010B32CCF9}" destId="{261BED03-438F-4A49-B8CE-32053DDB390B}" srcOrd="0" destOrd="0" presId="urn:microsoft.com/office/officeart/2005/8/layout/hierarchy3"/>
    <dgm:cxn modelId="{DE8B9FB9-DA41-4488-8B51-17E5D083E0DC}" type="presOf" srcId="{B732E9FC-B781-46EB-8767-BC91FEF238A9}" destId="{5BE8D20B-F693-4B9D-86A5-E0F8197F0C94}" srcOrd="0" destOrd="0" presId="urn:microsoft.com/office/officeart/2005/8/layout/hierarchy3"/>
    <dgm:cxn modelId="{D2E213CC-6563-4403-A5CC-DF335C5ABBEB}" type="presOf" srcId="{04C9A60F-0DEC-4F2D-81D7-F2DFDC480ED2}" destId="{1C6C77E7-5316-4F6D-BFA6-2F4CA5B53377}" srcOrd="0" destOrd="0" presId="urn:microsoft.com/office/officeart/2005/8/layout/hierarchy3"/>
    <dgm:cxn modelId="{28C1A5CD-BCF8-4E60-B2EB-40B747ADAFE1}" type="presOf" srcId="{F1F05593-DF7D-4680-AC74-442247D74C6D}" destId="{7E7137E9-A526-49A0-AD1E-D4FE48744BAC}" srcOrd="0" destOrd="0" presId="urn:microsoft.com/office/officeart/2005/8/layout/hierarchy3"/>
    <dgm:cxn modelId="{A745A7D6-52CC-46E5-9BFE-DA4B2A1770B1}" type="presOf" srcId="{7B66DE3B-F478-4737-8AC0-3EB114660516}" destId="{3D27EF4D-4128-401E-89EE-578F7597AD7D}" srcOrd="0" destOrd="0" presId="urn:microsoft.com/office/officeart/2005/8/layout/hierarchy3"/>
    <dgm:cxn modelId="{BE435FE4-0EBD-4BA9-92F0-627688CE24FD}" srcId="{A5A0110C-1961-4357-9DC1-4013B883381D}" destId="{78DE2B7F-D2EA-4BF5-A934-1A5D1965C120}" srcOrd="1" destOrd="0" parTransId="{A45D3627-1E52-4D72-95F5-C68C8B9BA6C0}" sibTransId="{1B44F19B-6814-4A1D-8633-BE30F1638A17}"/>
    <dgm:cxn modelId="{163F44EC-EDA6-4B19-96B3-43BFC4D6CFF2}" type="presOf" srcId="{52A071D6-7E79-48BA-8FBA-24EC0695C416}" destId="{FC8CF04B-B9E6-4105-AE64-66F35320C1E9}" srcOrd="0" destOrd="0" presId="urn:microsoft.com/office/officeart/2005/8/layout/hierarchy3"/>
    <dgm:cxn modelId="{73EF39F2-6CE0-4BB4-81FC-6F81C3A0D087}" type="presOf" srcId="{8358008B-74F2-4758-8E7C-E22B3EAF4DDA}" destId="{8CC60DAD-5E1F-40E3-8C63-D6DC48D696DC}" srcOrd="0" destOrd="0" presId="urn:microsoft.com/office/officeart/2005/8/layout/hierarchy3"/>
    <dgm:cxn modelId="{41CD63F8-BE48-46D5-A53D-8CDAF28F0823}" srcId="{04C9A60F-0DEC-4F2D-81D7-F2DFDC480ED2}" destId="{F1F05593-DF7D-4680-AC74-442247D74C6D}" srcOrd="3" destOrd="0" parTransId="{79F99FA8-6A96-47C7-B7E9-5DF5C72DE3DB}" sibTransId="{84624166-272C-43C6-A2F9-54BBF25B19C4}"/>
    <dgm:cxn modelId="{3B98F5FA-9EB3-4BDC-8803-34FADD200280}" srcId="{04C9A60F-0DEC-4F2D-81D7-F2DFDC480ED2}" destId="{A5A0110C-1961-4357-9DC1-4013B883381D}" srcOrd="2" destOrd="0" parTransId="{F76D8392-B972-47CC-A9A3-17D8D4506D8F}" sibTransId="{728AC1F6-53FD-479D-B0CE-C681B8D23804}"/>
    <dgm:cxn modelId="{B2DE97A5-592D-45E3-994F-56DECFD07CD7}" type="presParOf" srcId="{1C6C77E7-5316-4F6D-BFA6-2F4CA5B53377}" destId="{0E662542-7066-49D7-9306-314A868B289C}" srcOrd="0" destOrd="0" presId="urn:microsoft.com/office/officeart/2005/8/layout/hierarchy3"/>
    <dgm:cxn modelId="{4A9B10F2-A40C-4EFB-9087-226DC511220C}" type="presParOf" srcId="{0E662542-7066-49D7-9306-314A868B289C}" destId="{C773772D-F159-4F6B-AD52-EAC51D9EE87F}" srcOrd="0" destOrd="0" presId="urn:microsoft.com/office/officeart/2005/8/layout/hierarchy3"/>
    <dgm:cxn modelId="{32568FE8-BB40-4ACD-A13D-DADF0FD20C06}" type="presParOf" srcId="{C773772D-F159-4F6B-AD52-EAC51D9EE87F}" destId="{261BED03-438F-4A49-B8CE-32053DDB390B}" srcOrd="0" destOrd="0" presId="urn:microsoft.com/office/officeart/2005/8/layout/hierarchy3"/>
    <dgm:cxn modelId="{0B1BF32D-737E-4A3A-BF4F-CA081F7711B3}" type="presParOf" srcId="{C773772D-F159-4F6B-AD52-EAC51D9EE87F}" destId="{32A2B6F8-2981-4580-A7C4-AE064B395142}" srcOrd="1" destOrd="0" presId="urn:microsoft.com/office/officeart/2005/8/layout/hierarchy3"/>
    <dgm:cxn modelId="{5B891804-5AD5-4E8D-A9A4-BE2BC0C1F3C2}" type="presParOf" srcId="{0E662542-7066-49D7-9306-314A868B289C}" destId="{18E8A079-470D-4320-BF47-B900EA6277D4}" srcOrd="1" destOrd="0" presId="urn:microsoft.com/office/officeart/2005/8/layout/hierarchy3"/>
    <dgm:cxn modelId="{87CDAC8F-DE5E-45F1-9C95-BCE6BE859BD6}" type="presParOf" srcId="{18E8A079-470D-4320-BF47-B900EA6277D4}" destId="{D7020858-9526-4A35-96EE-B3682D6A67D8}" srcOrd="0" destOrd="0" presId="urn:microsoft.com/office/officeart/2005/8/layout/hierarchy3"/>
    <dgm:cxn modelId="{046DE6A7-EC69-4E8E-A19D-8A62C7CC3506}" type="presParOf" srcId="{18E8A079-470D-4320-BF47-B900EA6277D4}" destId="{6570C3A7-B893-457F-8642-263476422DAB}" srcOrd="1" destOrd="0" presId="urn:microsoft.com/office/officeart/2005/8/layout/hierarchy3"/>
    <dgm:cxn modelId="{70615E18-F0C4-4A82-9857-D70A9728403B}" type="presParOf" srcId="{18E8A079-470D-4320-BF47-B900EA6277D4}" destId="{5BE8D20B-F693-4B9D-86A5-E0F8197F0C94}" srcOrd="2" destOrd="0" presId="urn:microsoft.com/office/officeart/2005/8/layout/hierarchy3"/>
    <dgm:cxn modelId="{D43E26B9-B90C-4FF9-8D51-0926DB2F466D}" type="presParOf" srcId="{18E8A079-470D-4320-BF47-B900EA6277D4}" destId="{78BADA73-05BF-4C8B-BE68-1D53912B24CF}" srcOrd="3" destOrd="0" presId="urn:microsoft.com/office/officeart/2005/8/layout/hierarchy3"/>
    <dgm:cxn modelId="{167AEE4A-8C4A-4F72-926F-580A8ADEC96D}" type="presParOf" srcId="{1C6C77E7-5316-4F6D-BFA6-2F4CA5B53377}" destId="{A8326784-FC7D-4B6B-A815-D107D707FD81}" srcOrd="1" destOrd="0" presId="urn:microsoft.com/office/officeart/2005/8/layout/hierarchy3"/>
    <dgm:cxn modelId="{5B83DEB9-AA53-4EFC-AA0A-C866F16AC9A7}" type="presParOf" srcId="{A8326784-FC7D-4B6B-A815-D107D707FD81}" destId="{FA4BAE00-D422-4078-A0E2-DCF9CE0DB6A6}" srcOrd="0" destOrd="0" presId="urn:microsoft.com/office/officeart/2005/8/layout/hierarchy3"/>
    <dgm:cxn modelId="{34AA7A1A-0D49-4313-BBE6-4265CBC934B7}" type="presParOf" srcId="{FA4BAE00-D422-4078-A0E2-DCF9CE0DB6A6}" destId="{26C02999-583F-44D0-BE6B-21035B27FC44}" srcOrd="0" destOrd="0" presId="urn:microsoft.com/office/officeart/2005/8/layout/hierarchy3"/>
    <dgm:cxn modelId="{1428423B-6EA2-4656-A326-B87DAE8E00E4}" type="presParOf" srcId="{FA4BAE00-D422-4078-A0E2-DCF9CE0DB6A6}" destId="{F36383E8-BADD-4BEE-B8C6-98C2D133CBE8}" srcOrd="1" destOrd="0" presId="urn:microsoft.com/office/officeart/2005/8/layout/hierarchy3"/>
    <dgm:cxn modelId="{5B9C4A25-3EFB-4A3D-AA77-0C6F39B1CD19}" type="presParOf" srcId="{A8326784-FC7D-4B6B-A815-D107D707FD81}" destId="{D9CDB0F2-F483-4739-AC76-77C0BC88B8C0}" srcOrd="1" destOrd="0" presId="urn:microsoft.com/office/officeart/2005/8/layout/hierarchy3"/>
    <dgm:cxn modelId="{D2746EEA-6530-4AFA-A1DE-C43F04E858A4}" type="presParOf" srcId="{D9CDB0F2-F483-4739-AC76-77C0BC88B8C0}" destId="{D972A796-108C-4276-83AC-EB009B960B2A}" srcOrd="0" destOrd="0" presId="urn:microsoft.com/office/officeart/2005/8/layout/hierarchy3"/>
    <dgm:cxn modelId="{AFDE7D74-5E54-4296-B020-96A5CB10673A}" type="presParOf" srcId="{D9CDB0F2-F483-4739-AC76-77C0BC88B8C0}" destId="{AF0C6054-786D-4252-A1DB-97504F96F002}" srcOrd="1" destOrd="0" presId="urn:microsoft.com/office/officeart/2005/8/layout/hierarchy3"/>
    <dgm:cxn modelId="{2303FCBF-50C0-4DF2-B99C-8F14CCEB11F7}" type="presParOf" srcId="{D9CDB0F2-F483-4739-AC76-77C0BC88B8C0}" destId="{CD93A4CA-6F95-4BB1-B0CD-AD4AA1B1E9B5}" srcOrd="2" destOrd="0" presId="urn:microsoft.com/office/officeart/2005/8/layout/hierarchy3"/>
    <dgm:cxn modelId="{BC3C3812-AAF6-4809-AAEF-020C338C36C2}" type="presParOf" srcId="{D9CDB0F2-F483-4739-AC76-77C0BC88B8C0}" destId="{B0C196C5-3BF1-4F61-93DA-B2ED8590EA54}" srcOrd="3" destOrd="0" presId="urn:microsoft.com/office/officeart/2005/8/layout/hierarchy3"/>
    <dgm:cxn modelId="{4CB668A8-5DF6-441E-9A22-8451F51C00AD}" type="presParOf" srcId="{D9CDB0F2-F483-4739-AC76-77C0BC88B8C0}" destId="{02C392F4-7C18-4CF9-94A6-C41E883DB34E}" srcOrd="4" destOrd="0" presId="urn:microsoft.com/office/officeart/2005/8/layout/hierarchy3"/>
    <dgm:cxn modelId="{2DE64547-966C-428F-8C3B-08207F6E30EF}" type="presParOf" srcId="{D9CDB0F2-F483-4739-AC76-77C0BC88B8C0}" destId="{634538B9-0B22-47BC-B791-257994E8F3F7}" srcOrd="5" destOrd="0" presId="urn:microsoft.com/office/officeart/2005/8/layout/hierarchy3"/>
    <dgm:cxn modelId="{E9D54E47-5D4F-4EF0-912F-38B1ECE1F8E1}" type="presParOf" srcId="{1C6C77E7-5316-4F6D-BFA6-2F4CA5B53377}" destId="{9FCEDB33-8BA6-4027-99A4-C09BCC5B4B64}" srcOrd="2" destOrd="0" presId="urn:microsoft.com/office/officeart/2005/8/layout/hierarchy3"/>
    <dgm:cxn modelId="{65F251D4-D2FA-431C-BB9B-700455763A57}" type="presParOf" srcId="{9FCEDB33-8BA6-4027-99A4-C09BCC5B4B64}" destId="{F4EFA8B0-328A-4541-A8A0-350F78F9E98B}" srcOrd="0" destOrd="0" presId="urn:microsoft.com/office/officeart/2005/8/layout/hierarchy3"/>
    <dgm:cxn modelId="{94D338AF-2A5E-451C-8763-A23BBC590A27}" type="presParOf" srcId="{F4EFA8B0-328A-4541-A8A0-350F78F9E98B}" destId="{9B5E627A-D8A5-4D61-9827-2DCDA3D3835E}" srcOrd="0" destOrd="0" presId="urn:microsoft.com/office/officeart/2005/8/layout/hierarchy3"/>
    <dgm:cxn modelId="{CCBCE86D-E409-49DA-8BC2-942AD48F0C13}" type="presParOf" srcId="{F4EFA8B0-328A-4541-A8A0-350F78F9E98B}" destId="{E767ABE5-8EE2-4962-B958-29D81ADD0B34}" srcOrd="1" destOrd="0" presId="urn:microsoft.com/office/officeart/2005/8/layout/hierarchy3"/>
    <dgm:cxn modelId="{34D1A62D-E2F9-4A9A-A427-F1D78B636EFF}" type="presParOf" srcId="{9FCEDB33-8BA6-4027-99A4-C09BCC5B4B64}" destId="{79F59E93-E07D-4FD0-8E79-3A903B608402}" srcOrd="1" destOrd="0" presId="urn:microsoft.com/office/officeart/2005/8/layout/hierarchy3"/>
    <dgm:cxn modelId="{BA9831B9-558D-4B9F-A10E-A80CEB6686BF}" type="presParOf" srcId="{79F59E93-E07D-4FD0-8E79-3A903B608402}" destId="{8CC60DAD-5E1F-40E3-8C63-D6DC48D696DC}" srcOrd="0" destOrd="0" presId="urn:microsoft.com/office/officeart/2005/8/layout/hierarchy3"/>
    <dgm:cxn modelId="{34F4ADE7-9D42-40FB-B5CA-33DC95292D07}" type="presParOf" srcId="{79F59E93-E07D-4FD0-8E79-3A903B608402}" destId="{B88054EB-C49F-480C-A696-4C15E87A1F2B}" srcOrd="1" destOrd="0" presId="urn:microsoft.com/office/officeart/2005/8/layout/hierarchy3"/>
    <dgm:cxn modelId="{E135C38B-ACF9-4AE7-AF02-1A09350543BB}" type="presParOf" srcId="{79F59E93-E07D-4FD0-8E79-3A903B608402}" destId="{64A9568A-5478-42F1-8624-7343273A3C69}" srcOrd="2" destOrd="0" presId="urn:microsoft.com/office/officeart/2005/8/layout/hierarchy3"/>
    <dgm:cxn modelId="{D0089A1B-74FF-40C2-8BD1-DE234284BE81}" type="presParOf" srcId="{79F59E93-E07D-4FD0-8E79-3A903B608402}" destId="{B2074EEB-6A6C-4B2E-9BF4-C812C15B9E8E}" srcOrd="3" destOrd="0" presId="urn:microsoft.com/office/officeart/2005/8/layout/hierarchy3"/>
    <dgm:cxn modelId="{82E96BB1-16B0-4137-A645-27BAE4CC4E04}" type="presParOf" srcId="{79F59E93-E07D-4FD0-8E79-3A903B608402}" destId="{70E19063-16E1-485C-81E2-B25AB706F988}" srcOrd="4" destOrd="0" presId="urn:microsoft.com/office/officeart/2005/8/layout/hierarchy3"/>
    <dgm:cxn modelId="{081CFE98-6E3B-434C-87D9-4AE18C4B43D7}" type="presParOf" srcId="{79F59E93-E07D-4FD0-8E79-3A903B608402}" destId="{3D7071B9-D39F-4C5C-B1C3-A5A1122C1110}" srcOrd="5" destOrd="0" presId="urn:microsoft.com/office/officeart/2005/8/layout/hierarchy3"/>
    <dgm:cxn modelId="{BA108ED0-562C-46A7-B93D-813C7D9D8AD5}" type="presParOf" srcId="{1C6C77E7-5316-4F6D-BFA6-2F4CA5B53377}" destId="{073CE127-F6D8-4187-9EAD-29ED2E7BA3F4}" srcOrd="3" destOrd="0" presId="urn:microsoft.com/office/officeart/2005/8/layout/hierarchy3"/>
    <dgm:cxn modelId="{87A6CF32-1794-43EE-A99A-19F1CBB09F27}" type="presParOf" srcId="{073CE127-F6D8-4187-9EAD-29ED2E7BA3F4}" destId="{7F208314-4BC4-41DD-9ECE-DD0039CAA382}" srcOrd="0" destOrd="0" presId="urn:microsoft.com/office/officeart/2005/8/layout/hierarchy3"/>
    <dgm:cxn modelId="{3188A149-63C9-4618-83B2-B50DB76BD6C0}" type="presParOf" srcId="{7F208314-4BC4-41DD-9ECE-DD0039CAA382}" destId="{7E7137E9-A526-49A0-AD1E-D4FE48744BAC}" srcOrd="0" destOrd="0" presId="urn:microsoft.com/office/officeart/2005/8/layout/hierarchy3"/>
    <dgm:cxn modelId="{1BD9EEC4-C32A-4A27-B5CF-B6C274381514}" type="presParOf" srcId="{7F208314-4BC4-41DD-9ECE-DD0039CAA382}" destId="{5C980B83-FCB6-4AA4-A0BB-CB5856B8CCE5}" srcOrd="1" destOrd="0" presId="urn:microsoft.com/office/officeart/2005/8/layout/hierarchy3"/>
    <dgm:cxn modelId="{C08EC2E3-C4A1-4888-B11D-81765C06B47A}" type="presParOf" srcId="{073CE127-F6D8-4187-9EAD-29ED2E7BA3F4}" destId="{83EF65DE-B943-4E3B-BDD5-8E3C0A54568F}" srcOrd="1" destOrd="0" presId="urn:microsoft.com/office/officeart/2005/8/layout/hierarchy3"/>
    <dgm:cxn modelId="{E5FCE5A5-DDC8-4BE5-A68B-AD8B55B887C6}" type="presParOf" srcId="{83EF65DE-B943-4E3B-BDD5-8E3C0A54568F}" destId="{B07F9DDB-66BC-41C4-B44A-EBC0E6EA2476}" srcOrd="0" destOrd="0" presId="urn:microsoft.com/office/officeart/2005/8/layout/hierarchy3"/>
    <dgm:cxn modelId="{9D62105A-7003-4BFC-98F2-BC75228CBBBE}" type="presParOf" srcId="{83EF65DE-B943-4E3B-BDD5-8E3C0A54568F}" destId="{EAF57E78-6643-4FB2-848D-E1A38177599B}" srcOrd="1" destOrd="0" presId="urn:microsoft.com/office/officeart/2005/8/layout/hierarchy3"/>
    <dgm:cxn modelId="{8C65C285-4A19-4077-B9C3-4927DDBD5017}" type="presParOf" srcId="{83EF65DE-B943-4E3B-BDD5-8E3C0A54568F}" destId="{FC8CF04B-B9E6-4105-AE64-66F35320C1E9}" srcOrd="2" destOrd="0" presId="urn:microsoft.com/office/officeart/2005/8/layout/hierarchy3"/>
    <dgm:cxn modelId="{8CC49C8B-04E5-4128-B0F6-A757F641D791}" type="presParOf" srcId="{83EF65DE-B943-4E3B-BDD5-8E3C0A54568F}" destId="{3D27EF4D-4128-401E-89EE-578F7597AD7D}" srcOrd="3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2CF5430-1112-4CA8-A98E-03926183C416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90F6B10-A897-4EFA-8095-8137F6DFB4ED}">
      <dgm:prSet/>
      <dgm:spPr/>
      <dgm:t>
        <a:bodyPr/>
        <a:lstStyle/>
        <a:p>
          <a:r>
            <a:rPr lang="en-US" dirty="0"/>
            <a:t>PMs should leverage project health status and follow the definition from PPM to identify projects with issue;</a:t>
          </a:r>
        </a:p>
      </dgm:t>
    </dgm:pt>
    <dgm:pt modelId="{02F0CF72-C4BE-4F2D-8DA5-BD1CD5351818}" type="parTrans" cxnId="{E58A23F1-B8BF-4D56-B1D5-FC5409715960}">
      <dgm:prSet/>
      <dgm:spPr/>
      <dgm:t>
        <a:bodyPr/>
        <a:lstStyle/>
        <a:p>
          <a:endParaRPr lang="en-US"/>
        </a:p>
      </dgm:t>
    </dgm:pt>
    <dgm:pt modelId="{7F2173C5-AFBD-44C1-9246-D9C7748DF2B9}" type="sibTrans" cxnId="{E58A23F1-B8BF-4D56-B1D5-FC5409715960}">
      <dgm:prSet/>
      <dgm:spPr/>
      <dgm:t>
        <a:bodyPr/>
        <a:lstStyle/>
        <a:p>
          <a:endParaRPr lang="en-US"/>
        </a:p>
      </dgm:t>
    </dgm:pt>
    <dgm:pt modelId="{74F3CB1C-E64B-47E7-881D-A9B7E528A31A}">
      <dgm:prSet/>
      <dgm:spPr/>
      <dgm:t>
        <a:bodyPr/>
        <a:lstStyle/>
        <a:p>
          <a:r>
            <a:rPr lang="en-US" dirty="0"/>
            <a:t>The person responsible for each level should escalate to next level as appropriate based on escalation criteria identified by the PRT.  Normally escalation happens when there is a risk related to schedule, cost, finance targets and it is not possible to solve internally;</a:t>
          </a:r>
        </a:p>
      </dgm:t>
    </dgm:pt>
    <dgm:pt modelId="{8BF4ECA0-9FE6-4771-9474-D7D6C8CE0247}" type="parTrans" cxnId="{665B87F8-DC21-4EDC-9F2A-A492FA3FAE29}">
      <dgm:prSet/>
      <dgm:spPr/>
      <dgm:t>
        <a:bodyPr/>
        <a:lstStyle/>
        <a:p>
          <a:endParaRPr lang="en-US"/>
        </a:p>
      </dgm:t>
    </dgm:pt>
    <dgm:pt modelId="{97CDFD62-7826-4BA3-B835-F24E409F1119}" type="sibTrans" cxnId="{665B87F8-DC21-4EDC-9F2A-A492FA3FAE29}">
      <dgm:prSet/>
      <dgm:spPr/>
      <dgm:t>
        <a:bodyPr/>
        <a:lstStyle/>
        <a:p>
          <a:endParaRPr lang="en-US"/>
        </a:p>
      </dgm:t>
    </dgm:pt>
    <dgm:pt modelId="{01AEC4F6-CA5E-495F-BDEC-7A0DD59A561C}">
      <dgm:prSet/>
      <dgm:spPr/>
      <dgm:t>
        <a:bodyPr/>
        <a:lstStyle/>
        <a:p>
          <a:r>
            <a:rPr lang="en-US"/>
            <a:t>Some businesses use the following approach: 2 weeks in a row with critical projects health stated as “red” is the appropriate time to escalate the issue and ask from help to next level ( from Workstream to Business Meeting). If the issue remains for one more week probably there is a reason to escalate to next level and so on.</a:t>
          </a:r>
        </a:p>
      </dgm:t>
    </dgm:pt>
    <dgm:pt modelId="{AF070B76-55C7-4DE7-9250-7DB83D11DDB1}" type="parTrans" cxnId="{6B13C5E2-E052-4F24-8635-19E7B8A283A8}">
      <dgm:prSet/>
      <dgm:spPr/>
      <dgm:t>
        <a:bodyPr/>
        <a:lstStyle/>
        <a:p>
          <a:endParaRPr lang="en-US"/>
        </a:p>
      </dgm:t>
    </dgm:pt>
    <dgm:pt modelId="{ADE319BA-A7F8-4629-A04A-9A80DC547C71}" type="sibTrans" cxnId="{6B13C5E2-E052-4F24-8635-19E7B8A283A8}">
      <dgm:prSet/>
      <dgm:spPr/>
      <dgm:t>
        <a:bodyPr/>
        <a:lstStyle/>
        <a:p>
          <a:endParaRPr lang="en-US"/>
        </a:p>
      </dgm:t>
    </dgm:pt>
    <dgm:pt modelId="{04BF1AFE-3496-4498-B8DB-6069C9AE2761}" type="pres">
      <dgm:prSet presAssocID="{12CF5430-1112-4CA8-A98E-03926183C416}" presName="vert0" presStyleCnt="0">
        <dgm:presLayoutVars>
          <dgm:dir/>
          <dgm:animOne val="branch"/>
          <dgm:animLvl val="lvl"/>
        </dgm:presLayoutVars>
      </dgm:prSet>
      <dgm:spPr/>
    </dgm:pt>
    <dgm:pt modelId="{120DC46D-2901-4178-BFAA-7EEB818B12FD}" type="pres">
      <dgm:prSet presAssocID="{390F6B10-A897-4EFA-8095-8137F6DFB4ED}" presName="thickLine" presStyleLbl="alignNode1" presStyleIdx="0" presStyleCnt="3"/>
      <dgm:spPr/>
    </dgm:pt>
    <dgm:pt modelId="{3B18BE93-2429-4D50-96D9-12C197A8EFCD}" type="pres">
      <dgm:prSet presAssocID="{390F6B10-A897-4EFA-8095-8137F6DFB4ED}" presName="horz1" presStyleCnt="0"/>
      <dgm:spPr/>
    </dgm:pt>
    <dgm:pt modelId="{A358921E-5FE3-43F2-8AE9-08D9B6220D39}" type="pres">
      <dgm:prSet presAssocID="{390F6B10-A897-4EFA-8095-8137F6DFB4ED}" presName="tx1" presStyleLbl="revTx" presStyleIdx="0" presStyleCnt="3"/>
      <dgm:spPr/>
    </dgm:pt>
    <dgm:pt modelId="{B2B67DF6-8230-452D-BC2E-CB9A9549BEEB}" type="pres">
      <dgm:prSet presAssocID="{390F6B10-A897-4EFA-8095-8137F6DFB4ED}" presName="vert1" presStyleCnt="0"/>
      <dgm:spPr/>
    </dgm:pt>
    <dgm:pt modelId="{A5B6E8D5-0A1B-469D-871C-185B778EA33E}" type="pres">
      <dgm:prSet presAssocID="{74F3CB1C-E64B-47E7-881D-A9B7E528A31A}" presName="thickLine" presStyleLbl="alignNode1" presStyleIdx="1" presStyleCnt="3"/>
      <dgm:spPr/>
    </dgm:pt>
    <dgm:pt modelId="{FCFFA7D4-8870-40CB-BEA4-8024AF344D37}" type="pres">
      <dgm:prSet presAssocID="{74F3CB1C-E64B-47E7-881D-A9B7E528A31A}" presName="horz1" presStyleCnt="0"/>
      <dgm:spPr/>
    </dgm:pt>
    <dgm:pt modelId="{20C3EFAA-8D79-4BA9-903E-85ED786A4A40}" type="pres">
      <dgm:prSet presAssocID="{74F3CB1C-E64B-47E7-881D-A9B7E528A31A}" presName="tx1" presStyleLbl="revTx" presStyleIdx="1" presStyleCnt="3"/>
      <dgm:spPr/>
    </dgm:pt>
    <dgm:pt modelId="{545A5FB1-5537-465D-A3C0-F4E2EFFBC8A1}" type="pres">
      <dgm:prSet presAssocID="{74F3CB1C-E64B-47E7-881D-A9B7E528A31A}" presName="vert1" presStyleCnt="0"/>
      <dgm:spPr/>
    </dgm:pt>
    <dgm:pt modelId="{7DC713BE-BA47-4707-98FF-B66D39CCF041}" type="pres">
      <dgm:prSet presAssocID="{01AEC4F6-CA5E-495F-BDEC-7A0DD59A561C}" presName="thickLine" presStyleLbl="alignNode1" presStyleIdx="2" presStyleCnt="3"/>
      <dgm:spPr/>
    </dgm:pt>
    <dgm:pt modelId="{894A7B24-9958-4CBD-991D-CDA1E2348B35}" type="pres">
      <dgm:prSet presAssocID="{01AEC4F6-CA5E-495F-BDEC-7A0DD59A561C}" presName="horz1" presStyleCnt="0"/>
      <dgm:spPr/>
    </dgm:pt>
    <dgm:pt modelId="{022E203A-4883-4CE2-9E3D-265FD3B135BD}" type="pres">
      <dgm:prSet presAssocID="{01AEC4F6-CA5E-495F-BDEC-7A0DD59A561C}" presName="tx1" presStyleLbl="revTx" presStyleIdx="2" presStyleCnt="3"/>
      <dgm:spPr/>
    </dgm:pt>
    <dgm:pt modelId="{049EA0FF-1554-4CDE-BE5E-8BC6AB6122E9}" type="pres">
      <dgm:prSet presAssocID="{01AEC4F6-CA5E-495F-BDEC-7A0DD59A561C}" presName="vert1" presStyleCnt="0"/>
      <dgm:spPr/>
    </dgm:pt>
  </dgm:ptLst>
  <dgm:cxnLst>
    <dgm:cxn modelId="{3FF796A0-72A2-4ED6-B520-46BF27B45EFF}" type="presOf" srcId="{74F3CB1C-E64B-47E7-881D-A9B7E528A31A}" destId="{20C3EFAA-8D79-4BA9-903E-85ED786A4A40}" srcOrd="0" destOrd="0" presId="urn:microsoft.com/office/officeart/2008/layout/LinedList"/>
    <dgm:cxn modelId="{B0A523D6-09F0-4BCB-BBF9-6F8EA8A76CDC}" type="presOf" srcId="{01AEC4F6-CA5E-495F-BDEC-7A0DD59A561C}" destId="{022E203A-4883-4CE2-9E3D-265FD3B135BD}" srcOrd="0" destOrd="0" presId="urn:microsoft.com/office/officeart/2008/layout/LinedList"/>
    <dgm:cxn modelId="{52FB1DD7-4C75-479E-A0C0-6F0BFC9F60A6}" type="presOf" srcId="{12CF5430-1112-4CA8-A98E-03926183C416}" destId="{04BF1AFE-3496-4498-B8DB-6069C9AE2761}" srcOrd="0" destOrd="0" presId="urn:microsoft.com/office/officeart/2008/layout/LinedList"/>
    <dgm:cxn modelId="{6B13C5E2-E052-4F24-8635-19E7B8A283A8}" srcId="{12CF5430-1112-4CA8-A98E-03926183C416}" destId="{01AEC4F6-CA5E-495F-BDEC-7A0DD59A561C}" srcOrd="2" destOrd="0" parTransId="{AF070B76-55C7-4DE7-9250-7DB83D11DDB1}" sibTransId="{ADE319BA-A7F8-4629-A04A-9A80DC547C71}"/>
    <dgm:cxn modelId="{E58A23F1-B8BF-4D56-B1D5-FC5409715960}" srcId="{12CF5430-1112-4CA8-A98E-03926183C416}" destId="{390F6B10-A897-4EFA-8095-8137F6DFB4ED}" srcOrd="0" destOrd="0" parTransId="{02F0CF72-C4BE-4F2D-8DA5-BD1CD5351818}" sibTransId="{7F2173C5-AFBD-44C1-9246-D9C7748DF2B9}"/>
    <dgm:cxn modelId="{665B87F8-DC21-4EDC-9F2A-A492FA3FAE29}" srcId="{12CF5430-1112-4CA8-A98E-03926183C416}" destId="{74F3CB1C-E64B-47E7-881D-A9B7E528A31A}" srcOrd="1" destOrd="0" parTransId="{8BF4ECA0-9FE6-4771-9474-D7D6C8CE0247}" sibTransId="{97CDFD62-7826-4BA3-B835-F24E409F1119}"/>
    <dgm:cxn modelId="{2DCB2FFC-9288-4674-A06E-ED91510E1503}" type="presOf" srcId="{390F6B10-A897-4EFA-8095-8137F6DFB4ED}" destId="{A358921E-5FE3-43F2-8AE9-08D9B6220D39}" srcOrd="0" destOrd="0" presId="urn:microsoft.com/office/officeart/2008/layout/LinedList"/>
    <dgm:cxn modelId="{FE8BA54C-F7AC-414B-BF39-55E16AC9EDAE}" type="presParOf" srcId="{04BF1AFE-3496-4498-B8DB-6069C9AE2761}" destId="{120DC46D-2901-4178-BFAA-7EEB818B12FD}" srcOrd="0" destOrd="0" presId="urn:microsoft.com/office/officeart/2008/layout/LinedList"/>
    <dgm:cxn modelId="{265305EE-41C7-4DD8-8DFC-D8043BABC04F}" type="presParOf" srcId="{04BF1AFE-3496-4498-B8DB-6069C9AE2761}" destId="{3B18BE93-2429-4D50-96D9-12C197A8EFCD}" srcOrd="1" destOrd="0" presId="urn:microsoft.com/office/officeart/2008/layout/LinedList"/>
    <dgm:cxn modelId="{34E50168-E61D-44A1-B6B1-88D37A9A0466}" type="presParOf" srcId="{3B18BE93-2429-4D50-96D9-12C197A8EFCD}" destId="{A358921E-5FE3-43F2-8AE9-08D9B6220D39}" srcOrd="0" destOrd="0" presId="urn:microsoft.com/office/officeart/2008/layout/LinedList"/>
    <dgm:cxn modelId="{F0FC79F7-309C-4931-A87F-A1D0B906E49E}" type="presParOf" srcId="{3B18BE93-2429-4D50-96D9-12C197A8EFCD}" destId="{B2B67DF6-8230-452D-BC2E-CB9A9549BEEB}" srcOrd="1" destOrd="0" presId="urn:microsoft.com/office/officeart/2008/layout/LinedList"/>
    <dgm:cxn modelId="{C065DC04-9038-417D-B26A-80587BCC2E9D}" type="presParOf" srcId="{04BF1AFE-3496-4498-B8DB-6069C9AE2761}" destId="{A5B6E8D5-0A1B-469D-871C-185B778EA33E}" srcOrd="2" destOrd="0" presId="urn:microsoft.com/office/officeart/2008/layout/LinedList"/>
    <dgm:cxn modelId="{F3ECCEC3-1AAB-414F-B8EF-DB648F3B123C}" type="presParOf" srcId="{04BF1AFE-3496-4498-B8DB-6069C9AE2761}" destId="{FCFFA7D4-8870-40CB-BEA4-8024AF344D37}" srcOrd="3" destOrd="0" presId="urn:microsoft.com/office/officeart/2008/layout/LinedList"/>
    <dgm:cxn modelId="{04B85616-709B-46F5-89FF-6B44C50FCBFB}" type="presParOf" srcId="{FCFFA7D4-8870-40CB-BEA4-8024AF344D37}" destId="{20C3EFAA-8D79-4BA9-903E-85ED786A4A40}" srcOrd="0" destOrd="0" presId="urn:microsoft.com/office/officeart/2008/layout/LinedList"/>
    <dgm:cxn modelId="{BA6C1987-8BEB-4EBB-9E71-1BB95F295029}" type="presParOf" srcId="{FCFFA7D4-8870-40CB-BEA4-8024AF344D37}" destId="{545A5FB1-5537-465D-A3C0-F4E2EFFBC8A1}" srcOrd="1" destOrd="0" presId="urn:microsoft.com/office/officeart/2008/layout/LinedList"/>
    <dgm:cxn modelId="{2412964A-2783-4AF3-A82D-6EB701A6F0D9}" type="presParOf" srcId="{04BF1AFE-3496-4498-B8DB-6069C9AE2761}" destId="{7DC713BE-BA47-4707-98FF-B66D39CCF041}" srcOrd="4" destOrd="0" presId="urn:microsoft.com/office/officeart/2008/layout/LinedList"/>
    <dgm:cxn modelId="{EBB08775-5E8E-48D2-94C1-F0EA4843096A}" type="presParOf" srcId="{04BF1AFE-3496-4498-B8DB-6069C9AE2761}" destId="{894A7B24-9958-4CBD-991D-CDA1E2348B35}" srcOrd="5" destOrd="0" presId="urn:microsoft.com/office/officeart/2008/layout/LinedList"/>
    <dgm:cxn modelId="{3F4C9F16-BA30-4B22-B0B5-FA2422E46981}" type="presParOf" srcId="{894A7B24-9958-4CBD-991D-CDA1E2348B35}" destId="{022E203A-4883-4CE2-9E3D-265FD3B135BD}" srcOrd="0" destOrd="0" presId="urn:microsoft.com/office/officeart/2008/layout/LinedList"/>
    <dgm:cxn modelId="{10099494-A52E-4126-8BE5-65DBAAE9E54B}" type="presParOf" srcId="{894A7B24-9958-4CBD-991D-CDA1E2348B35}" destId="{049EA0FF-1554-4CDE-BE5E-8BC6AB6122E9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1BED03-438F-4A49-B8CE-32053DDB390B}">
      <dsp:nvSpPr>
        <dsp:cNvPr id="0" name=""/>
        <dsp:cNvSpPr/>
      </dsp:nvSpPr>
      <dsp:spPr>
        <a:xfrm>
          <a:off x="1506" y="652244"/>
          <a:ext cx="1731912" cy="86595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kern="1200" dirty="0"/>
            <a:t>Project Team </a:t>
          </a:r>
        </a:p>
      </dsp:txBody>
      <dsp:txXfrm>
        <a:off x="26869" y="677607"/>
        <a:ext cx="1681186" cy="815230"/>
      </dsp:txXfrm>
    </dsp:sp>
    <dsp:sp modelId="{D7020858-9526-4A35-96EE-B3682D6A67D8}">
      <dsp:nvSpPr>
        <dsp:cNvPr id="0" name=""/>
        <dsp:cNvSpPr/>
      </dsp:nvSpPr>
      <dsp:spPr>
        <a:xfrm>
          <a:off x="174698" y="1518201"/>
          <a:ext cx="173191" cy="64946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49467"/>
              </a:lnTo>
              <a:lnTo>
                <a:pt x="173191" y="64946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570C3A7-B893-457F-8642-263476422DAB}">
      <dsp:nvSpPr>
        <dsp:cNvPr id="0" name=""/>
        <dsp:cNvSpPr/>
      </dsp:nvSpPr>
      <dsp:spPr>
        <a:xfrm>
          <a:off x="347889" y="1734690"/>
          <a:ext cx="1385530" cy="8659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" tIns="8890" rIns="13335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700" kern="1200" dirty="0"/>
            <a:t>The P</a:t>
          </a:r>
          <a:r>
            <a:rPr lang="en-GB" sz="700" b="1" kern="1200" dirty="0">
              <a:solidFill>
                <a:srgbClr val="519137"/>
              </a:solidFill>
              <a:latin typeface="Arial"/>
              <a:ea typeface="+mn-ea"/>
              <a:cs typeface="+mn-cs"/>
            </a:rPr>
            <a:t>roject team </a:t>
          </a:r>
          <a:r>
            <a:rPr lang="en-GB" sz="700" kern="1200" dirty="0"/>
            <a:t>selects the best solution and completes deliverables for each phase </a:t>
          </a:r>
        </a:p>
      </dsp:txBody>
      <dsp:txXfrm>
        <a:off x="373252" y="1760053"/>
        <a:ext cx="1334804" cy="815230"/>
      </dsp:txXfrm>
    </dsp:sp>
    <dsp:sp modelId="{5BE8D20B-F693-4B9D-86A5-E0F8197F0C94}">
      <dsp:nvSpPr>
        <dsp:cNvPr id="0" name=""/>
        <dsp:cNvSpPr/>
      </dsp:nvSpPr>
      <dsp:spPr>
        <a:xfrm>
          <a:off x="174698" y="1518201"/>
          <a:ext cx="173191" cy="173191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31912"/>
              </a:lnTo>
              <a:lnTo>
                <a:pt x="173191" y="173191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8BADA73-05BF-4C8B-BE68-1D53912B24CF}">
      <dsp:nvSpPr>
        <dsp:cNvPr id="0" name=""/>
        <dsp:cNvSpPr/>
      </dsp:nvSpPr>
      <dsp:spPr>
        <a:xfrm>
          <a:off x="347889" y="2817136"/>
          <a:ext cx="1385530" cy="8659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" tIns="8890" rIns="13335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700" kern="1200" dirty="0"/>
            <a:t>Team Composition: </a:t>
          </a:r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700" kern="1200" dirty="0"/>
            <a:t>PM, Sponsor, BPM, </a:t>
          </a:r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700" kern="1200" dirty="0"/>
            <a:t>Functional Leads </a:t>
          </a:r>
        </a:p>
      </dsp:txBody>
      <dsp:txXfrm>
        <a:off x="373252" y="2842499"/>
        <a:ext cx="1334804" cy="815230"/>
      </dsp:txXfrm>
    </dsp:sp>
    <dsp:sp modelId="{26C02999-583F-44D0-BE6B-21035B27FC44}">
      <dsp:nvSpPr>
        <dsp:cNvPr id="0" name=""/>
        <dsp:cNvSpPr/>
      </dsp:nvSpPr>
      <dsp:spPr>
        <a:xfrm>
          <a:off x="2166397" y="652244"/>
          <a:ext cx="1731912" cy="865956"/>
        </a:xfrm>
        <a:prstGeom prst="roundRect">
          <a:avLst>
            <a:gd name="adj" fmla="val 10000"/>
          </a:avLst>
        </a:prstGeom>
        <a:solidFill>
          <a:srgbClr val="00768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kern="1200" dirty="0"/>
            <a:t>Technical Review team </a:t>
          </a:r>
        </a:p>
      </dsp:txBody>
      <dsp:txXfrm>
        <a:off x="2191760" y="677607"/>
        <a:ext cx="1681186" cy="815230"/>
      </dsp:txXfrm>
    </dsp:sp>
    <dsp:sp modelId="{D972A796-108C-4276-83AC-EB009B960B2A}">
      <dsp:nvSpPr>
        <dsp:cNvPr id="0" name=""/>
        <dsp:cNvSpPr/>
      </dsp:nvSpPr>
      <dsp:spPr>
        <a:xfrm>
          <a:off x="2339589" y="1518201"/>
          <a:ext cx="173191" cy="64946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49467"/>
              </a:lnTo>
              <a:lnTo>
                <a:pt x="173191" y="64946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0C6054-786D-4252-A1DB-97504F96F002}">
      <dsp:nvSpPr>
        <dsp:cNvPr id="0" name=""/>
        <dsp:cNvSpPr/>
      </dsp:nvSpPr>
      <dsp:spPr>
        <a:xfrm>
          <a:off x="2512780" y="1734690"/>
          <a:ext cx="1385530" cy="8659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" tIns="8890" rIns="13335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700" kern="1200" dirty="0"/>
            <a:t>The </a:t>
          </a:r>
          <a:r>
            <a:rPr lang="en-GB" sz="700" b="1" kern="1200" dirty="0">
              <a:solidFill>
                <a:srgbClr val="519137"/>
              </a:solidFill>
              <a:latin typeface="Arial"/>
              <a:ea typeface="+mn-ea"/>
              <a:cs typeface="+mn-cs"/>
            </a:rPr>
            <a:t>Review Team </a:t>
          </a:r>
          <a:r>
            <a:rPr lang="en-GB" sz="700" kern="1200" dirty="0"/>
            <a:t>approves selected solution and confirms quality</a:t>
          </a:r>
        </a:p>
      </dsp:txBody>
      <dsp:txXfrm>
        <a:off x="2538143" y="1760053"/>
        <a:ext cx="1334804" cy="815230"/>
      </dsp:txXfrm>
    </dsp:sp>
    <dsp:sp modelId="{CD93A4CA-6F95-4BB1-B0CD-AD4AA1B1E9B5}">
      <dsp:nvSpPr>
        <dsp:cNvPr id="0" name=""/>
        <dsp:cNvSpPr/>
      </dsp:nvSpPr>
      <dsp:spPr>
        <a:xfrm>
          <a:off x="2339589" y="1518201"/>
          <a:ext cx="173191" cy="173191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31912"/>
              </a:lnTo>
              <a:lnTo>
                <a:pt x="173191" y="173191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0C196C5-3BF1-4F61-93DA-B2ED8590EA54}">
      <dsp:nvSpPr>
        <dsp:cNvPr id="0" name=""/>
        <dsp:cNvSpPr/>
      </dsp:nvSpPr>
      <dsp:spPr>
        <a:xfrm>
          <a:off x="2512780" y="2817136"/>
          <a:ext cx="1385530" cy="8659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" tIns="8890" rIns="13335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700" kern="1200" dirty="0"/>
            <a:t>Team Composition: </a:t>
          </a:r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700" kern="1200" dirty="0"/>
            <a:t>SME’s</a:t>
          </a:r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700" kern="1200" dirty="0"/>
            <a:t>“The designated SME’s must be independent of the project team” </a:t>
          </a:r>
        </a:p>
      </dsp:txBody>
      <dsp:txXfrm>
        <a:off x="2538143" y="2842499"/>
        <a:ext cx="1334804" cy="815230"/>
      </dsp:txXfrm>
    </dsp:sp>
    <dsp:sp modelId="{02C392F4-7C18-4CF9-94A6-C41E883DB34E}">
      <dsp:nvSpPr>
        <dsp:cNvPr id="0" name=""/>
        <dsp:cNvSpPr/>
      </dsp:nvSpPr>
      <dsp:spPr>
        <a:xfrm>
          <a:off x="2339589" y="1518201"/>
          <a:ext cx="173191" cy="28143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14358"/>
              </a:lnTo>
              <a:lnTo>
                <a:pt x="173191" y="281435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34538B9-0B22-47BC-B791-257994E8F3F7}">
      <dsp:nvSpPr>
        <dsp:cNvPr id="0" name=""/>
        <dsp:cNvSpPr/>
      </dsp:nvSpPr>
      <dsp:spPr>
        <a:xfrm>
          <a:off x="2512780" y="3899581"/>
          <a:ext cx="1385530" cy="8659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" tIns="8890" rIns="13335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rPr>
            <a:t>Project has </a:t>
          </a:r>
          <a:r>
            <a:rPr kumimoji="0" lang="en-US" sz="7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rPr>
            <a:t>optimum solution </a:t>
          </a:r>
          <a:r>
            <a: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rPr>
            <a:t>and </a:t>
          </a:r>
          <a:r>
            <a:rPr kumimoji="0" lang="en-US" sz="7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rPr>
            <a:t>frozen</a:t>
          </a:r>
          <a:r>
            <a: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rPr>
            <a:t> the scope. </a:t>
          </a:r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rPr>
            <a:t>Technical risks are understood and managed</a:t>
          </a:r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rPr>
            <a:t>All deliverables are complete and meet the required level of quality </a:t>
          </a:r>
          <a:endParaRPr lang="en-GB" sz="700" kern="1200" dirty="0"/>
        </a:p>
      </dsp:txBody>
      <dsp:txXfrm>
        <a:off x="2538143" y="3924944"/>
        <a:ext cx="1334804" cy="815230"/>
      </dsp:txXfrm>
    </dsp:sp>
    <dsp:sp modelId="{9B5E627A-D8A5-4D61-9827-2DCDA3D3835E}">
      <dsp:nvSpPr>
        <dsp:cNvPr id="0" name=""/>
        <dsp:cNvSpPr/>
      </dsp:nvSpPr>
      <dsp:spPr>
        <a:xfrm>
          <a:off x="4331289" y="652244"/>
          <a:ext cx="1731912" cy="865956"/>
        </a:xfrm>
        <a:prstGeom prst="roundRect">
          <a:avLst>
            <a:gd name="adj" fmla="val 10000"/>
          </a:avLst>
        </a:prstGeom>
        <a:solidFill>
          <a:srgbClr val="00768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kern="1200" dirty="0"/>
            <a:t> Gate Approval team</a:t>
          </a:r>
        </a:p>
      </dsp:txBody>
      <dsp:txXfrm>
        <a:off x="4356652" y="677607"/>
        <a:ext cx="1681186" cy="815230"/>
      </dsp:txXfrm>
    </dsp:sp>
    <dsp:sp modelId="{8CC60DAD-5E1F-40E3-8C63-D6DC48D696DC}">
      <dsp:nvSpPr>
        <dsp:cNvPr id="0" name=""/>
        <dsp:cNvSpPr/>
      </dsp:nvSpPr>
      <dsp:spPr>
        <a:xfrm>
          <a:off x="4504480" y="1518201"/>
          <a:ext cx="173191" cy="64946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49467"/>
              </a:lnTo>
              <a:lnTo>
                <a:pt x="173191" y="64946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88054EB-C49F-480C-A696-4C15E87A1F2B}">
      <dsp:nvSpPr>
        <dsp:cNvPr id="0" name=""/>
        <dsp:cNvSpPr/>
      </dsp:nvSpPr>
      <dsp:spPr>
        <a:xfrm>
          <a:off x="4677671" y="1734690"/>
          <a:ext cx="1385530" cy="8659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" tIns="8890" rIns="13335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700" kern="1200" dirty="0"/>
            <a:t>A </a:t>
          </a:r>
          <a:r>
            <a:rPr lang="en-GB" sz="700" b="1" kern="1200" dirty="0">
              <a:solidFill>
                <a:srgbClr val="519137"/>
              </a:solidFill>
            </a:rPr>
            <a:t>Gate Review Team (GRT) </a:t>
          </a:r>
          <a:r>
            <a:rPr lang="en-GB" sz="700" kern="1200" dirty="0"/>
            <a:t>is a group of unbiased people who are involved in the formal review of the project status and evaluation of readiness to proceed to the next phase. </a:t>
          </a:r>
        </a:p>
      </dsp:txBody>
      <dsp:txXfrm>
        <a:off x="4703034" y="1760053"/>
        <a:ext cx="1334804" cy="815230"/>
      </dsp:txXfrm>
    </dsp:sp>
    <dsp:sp modelId="{64A9568A-5478-42F1-8624-7343273A3C69}">
      <dsp:nvSpPr>
        <dsp:cNvPr id="0" name=""/>
        <dsp:cNvSpPr/>
      </dsp:nvSpPr>
      <dsp:spPr>
        <a:xfrm>
          <a:off x="4504480" y="1518201"/>
          <a:ext cx="173191" cy="173191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31912"/>
              </a:lnTo>
              <a:lnTo>
                <a:pt x="173191" y="173191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2074EEB-6A6C-4B2E-9BF4-C812C15B9E8E}">
      <dsp:nvSpPr>
        <dsp:cNvPr id="0" name=""/>
        <dsp:cNvSpPr/>
      </dsp:nvSpPr>
      <dsp:spPr>
        <a:xfrm>
          <a:off x="4677671" y="2817136"/>
          <a:ext cx="1385530" cy="8659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" tIns="8890" rIns="13335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700" kern="1200" dirty="0"/>
            <a:t>Team Composition: </a:t>
          </a:r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700" kern="1200" dirty="0"/>
            <a:t>Portfolio owner </a:t>
          </a:r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700" kern="1200" dirty="0"/>
            <a:t>Financial lead</a:t>
          </a:r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700" kern="1200" dirty="0"/>
            <a:t>&gt;500K: Global Eng &amp;Data Sc Lead </a:t>
          </a:r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700" kern="1200" dirty="0"/>
            <a:t>&lt;500K: Local Op&amp; Eng lead </a:t>
          </a:r>
        </a:p>
      </dsp:txBody>
      <dsp:txXfrm>
        <a:off x="4703034" y="2842499"/>
        <a:ext cx="1334804" cy="815230"/>
      </dsp:txXfrm>
    </dsp:sp>
    <dsp:sp modelId="{70E19063-16E1-485C-81E2-B25AB706F988}">
      <dsp:nvSpPr>
        <dsp:cNvPr id="0" name=""/>
        <dsp:cNvSpPr/>
      </dsp:nvSpPr>
      <dsp:spPr>
        <a:xfrm>
          <a:off x="4504480" y="1518201"/>
          <a:ext cx="173191" cy="28143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14358"/>
              </a:lnTo>
              <a:lnTo>
                <a:pt x="173191" y="281435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7071B9-D39F-4C5C-B1C3-A5A1122C1110}">
      <dsp:nvSpPr>
        <dsp:cNvPr id="0" name=""/>
        <dsp:cNvSpPr/>
      </dsp:nvSpPr>
      <dsp:spPr>
        <a:xfrm>
          <a:off x="4677671" y="3899581"/>
          <a:ext cx="1385530" cy="8659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" tIns="8890" rIns="13335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heck completeness of deliverables </a:t>
          </a:r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Go/no go decision </a:t>
          </a:r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>
              <a:solidFill>
                <a:schemeClr val="dk1"/>
              </a:solidFill>
              <a:latin typeface="+mn-lt"/>
              <a:ea typeface="+mn-ea"/>
              <a:cs typeface="+mn-cs"/>
            </a:rPr>
            <a:t>Approve next phase (plan, budget and resources) </a:t>
          </a:r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>
              <a:solidFill>
                <a:schemeClr val="dk1"/>
              </a:solidFill>
              <a:latin typeface="+mn-lt"/>
              <a:ea typeface="+mn-ea"/>
              <a:cs typeface="+mn-cs"/>
            </a:rPr>
            <a:t>Coaching project sponsors and project managers</a:t>
          </a:r>
          <a:endParaRPr lang="en-GB" sz="700" kern="1200" dirty="0"/>
        </a:p>
      </dsp:txBody>
      <dsp:txXfrm>
        <a:off x="4703034" y="3924944"/>
        <a:ext cx="1334804" cy="815230"/>
      </dsp:txXfrm>
    </dsp:sp>
    <dsp:sp modelId="{7E7137E9-A526-49A0-AD1E-D4FE48744BAC}">
      <dsp:nvSpPr>
        <dsp:cNvPr id="0" name=""/>
        <dsp:cNvSpPr/>
      </dsp:nvSpPr>
      <dsp:spPr>
        <a:xfrm>
          <a:off x="6496180" y="652244"/>
          <a:ext cx="1731912" cy="865956"/>
        </a:xfrm>
        <a:prstGeom prst="roundRect">
          <a:avLst>
            <a:gd name="adj" fmla="val 10000"/>
          </a:avLst>
        </a:prstGeom>
        <a:solidFill>
          <a:srgbClr val="658D1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195" tIns="24130" rIns="36195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kern="1200" dirty="0"/>
            <a:t>Steering committee </a:t>
          </a:r>
        </a:p>
      </dsp:txBody>
      <dsp:txXfrm>
        <a:off x="6521543" y="677607"/>
        <a:ext cx="1681186" cy="815230"/>
      </dsp:txXfrm>
    </dsp:sp>
    <dsp:sp modelId="{B07F9DDB-66BC-41C4-B44A-EBC0E6EA2476}">
      <dsp:nvSpPr>
        <dsp:cNvPr id="0" name=""/>
        <dsp:cNvSpPr/>
      </dsp:nvSpPr>
      <dsp:spPr>
        <a:xfrm>
          <a:off x="6669371" y="1518201"/>
          <a:ext cx="173191" cy="64946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49467"/>
              </a:lnTo>
              <a:lnTo>
                <a:pt x="173191" y="64946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F57E78-6643-4FB2-848D-E1A38177599B}">
      <dsp:nvSpPr>
        <dsp:cNvPr id="0" name=""/>
        <dsp:cNvSpPr/>
      </dsp:nvSpPr>
      <dsp:spPr>
        <a:xfrm>
          <a:off x="6842562" y="1734690"/>
          <a:ext cx="1385530" cy="8659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" tIns="8890" rIns="13335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700" kern="1200" dirty="0"/>
            <a:t>A </a:t>
          </a:r>
          <a:r>
            <a:rPr lang="en-GB" sz="700" b="1" kern="1200" dirty="0">
              <a:solidFill>
                <a:srgbClr val="519137"/>
              </a:solidFill>
            </a:rPr>
            <a:t>Steering Committee </a:t>
          </a:r>
          <a:r>
            <a:rPr lang="en-GB" sz="700" kern="1200" dirty="0"/>
            <a:t>is usually a group of high-level stakeholders who are responsible for providing guidance/ strategy </a:t>
          </a:r>
        </a:p>
      </dsp:txBody>
      <dsp:txXfrm>
        <a:off x="6867925" y="1760053"/>
        <a:ext cx="1334804" cy="815230"/>
      </dsp:txXfrm>
    </dsp:sp>
    <dsp:sp modelId="{FC8CF04B-B9E6-4105-AE64-66F35320C1E9}">
      <dsp:nvSpPr>
        <dsp:cNvPr id="0" name=""/>
        <dsp:cNvSpPr/>
      </dsp:nvSpPr>
      <dsp:spPr>
        <a:xfrm>
          <a:off x="6669371" y="1518201"/>
          <a:ext cx="173191" cy="173191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31912"/>
              </a:lnTo>
              <a:lnTo>
                <a:pt x="173191" y="173191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27EF4D-4128-401E-89EE-578F7597AD7D}">
      <dsp:nvSpPr>
        <dsp:cNvPr id="0" name=""/>
        <dsp:cNvSpPr/>
      </dsp:nvSpPr>
      <dsp:spPr>
        <a:xfrm>
          <a:off x="6842562" y="2817136"/>
          <a:ext cx="1385530" cy="8659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" tIns="8890" rIns="13335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700" kern="1200" dirty="0"/>
            <a:t>Team composition: </a:t>
          </a:r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700" kern="1200" dirty="0"/>
            <a:t>R&amp;D and business leaders </a:t>
          </a:r>
        </a:p>
      </dsp:txBody>
      <dsp:txXfrm>
        <a:off x="6867925" y="2842499"/>
        <a:ext cx="1334804" cy="81523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0DC46D-2901-4178-BFAA-7EEB818B12FD}">
      <dsp:nvSpPr>
        <dsp:cNvPr id="0" name=""/>
        <dsp:cNvSpPr/>
      </dsp:nvSpPr>
      <dsp:spPr>
        <a:xfrm>
          <a:off x="0" y="1584"/>
          <a:ext cx="293983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58921E-5FE3-43F2-8AE9-08D9B6220D39}">
      <dsp:nvSpPr>
        <dsp:cNvPr id="0" name=""/>
        <dsp:cNvSpPr/>
      </dsp:nvSpPr>
      <dsp:spPr>
        <a:xfrm>
          <a:off x="0" y="1584"/>
          <a:ext cx="2939831" cy="10807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PMs should leverage project health status and follow the definition from PPM to identify projects with issue;</a:t>
          </a:r>
        </a:p>
      </dsp:txBody>
      <dsp:txXfrm>
        <a:off x="0" y="1584"/>
        <a:ext cx="2939831" cy="1080780"/>
      </dsp:txXfrm>
    </dsp:sp>
    <dsp:sp modelId="{A5B6E8D5-0A1B-469D-871C-185B778EA33E}">
      <dsp:nvSpPr>
        <dsp:cNvPr id="0" name=""/>
        <dsp:cNvSpPr/>
      </dsp:nvSpPr>
      <dsp:spPr>
        <a:xfrm>
          <a:off x="0" y="1082365"/>
          <a:ext cx="293983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C3EFAA-8D79-4BA9-903E-85ED786A4A40}">
      <dsp:nvSpPr>
        <dsp:cNvPr id="0" name=""/>
        <dsp:cNvSpPr/>
      </dsp:nvSpPr>
      <dsp:spPr>
        <a:xfrm>
          <a:off x="0" y="1082365"/>
          <a:ext cx="2939831" cy="10807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The person responsible for each level should escalate to next level as appropriate based on escalation criteria identified by the PRT.  Normally escalation happens when there is a risk related to schedule, cost, finance targets and it is not possible to solve internally;</a:t>
          </a:r>
        </a:p>
      </dsp:txBody>
      <dsp:txXfrm>
        <a:off x="0" y="1082365"/>
        <a:ext cx="2939831" cy="1080780"/>
      </dsp:txXfrm>
    </dsp:sp>
    <dsp:sp modelId="{7DC713BE-BA47-4707-98FF-B66D39CCF041}">
      <dsp:nvSpPr>
        <dsp:cNvPr id="0" name=""/>
        <dsp:cNvSpPr/>
      </dsp:nvSpPr>
      <dsp:spPr>
        <a:xfrm>
          <a:off x="0" y="2163146"/>
          <a:ext cx="293983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2E203A-4883-4CE2-9E3D-265FD3B135BD}">
      <dsp:nvSpPr>
        <dsp:cNvPr id="0" name=""/>
        <dsp:cNvSpPr/>
      </dsp:nvSpPr>
      <dsp:spPr>
        <a:xfrm>
          <a:off x="0" y="2163146"/>
          <a:ext cx="2939831" cy="10807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Some businesses use the following approach: 2 weeks in a row with critical projects health stated as “red” is the appropriate time to escalate the issue and ask from help to next level ( from Workstream to Business Meeting). If the issue remains for one more week probably there is a reason to escalate to next level and so on.</a:t>
          </a:r>
        </a:p>
      </dsp:txBody>
      <dsp:txXfrm>
        <a:off x="0" y="2163146"/>
        <a:ext cx="2939831" cy="10807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40697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75780" y="0"/>
            <a:ext cx="4340697" cy="3444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3AFC38C4-3E46-4468-9FEA-9FFDFAC95692}" type="datetimeFigureOut">
              <a:rPr lang="en-US" altLang="en-US"/>
              <a:pPr/>
              <a:t>10/7/2024</a:t>
            </a:fld>
            <a:endParaRPr lang="en-US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44099"/>
            <a:ext cx="4340697" cy="3444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75780" y="6544099"/>
            <a:ext cx="4340697" cy="344488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CCE82EE8-737C-49C0-9C0C-0CB14A4290BD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21020673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7-07T10:34:26.345"/>
    </inkml:context>
    <inkml:brush xml:id="br0">
      <inkml:brushProperty name="width" value="0.05" units="cm"/>
      <inkml:brushProperty name="height" value="0.05" units="cm"/>
      <inkml:brushProperty name="color" value="#E71224"/>
      <inkml:brushProperty name="ignorePressure" value="1"/>
    </inkml:brush>
  </inkml:definitions>
  <inkml:trace contextRef="#ctx0" brushRef="#br0">1 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7-07T10:34:58.377"/>
    </inkml:context>
    <inkml:brush xml:id="br0">
      <inkml:brushProperty name="width" value="0.05" units="cm"/>
      <inkml:brushProperty name="height" value="0.05" units="cm"/>
      <inkml:brushProperty name="color" value="#E71224"/>
      <inkml:brushProperty name="ignorePressure" value="1"/>
    </inkml:brush>
  </inkml:definitions>
  <inkml:trace contextRef="#ctx0" brushRef="#br0">0 1,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7-07T10:34:26.345"/>
    </inkml:context>
    <inkml:brush xml:id="br0">
      <inkml:brushProperty name="width" value="0.05" units="cm"/>
      <inkml:brushProperty name="height" value="0.05" units="cm"/>
      <inkml:brushProperty name="color" value="#E71224"/>
      <inkml:brushProperty name="ignorePressure" value="1"/>
    </inkml:brush>
  </inkml:definitions>
  <inkml:trace contextRef="#ctx0" brushRef="#br0">1 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7-07T10:34:58.377"/>
    </inkml:context>
    <inkml:brush xml:id="br0">
      <inkml:brushProperty name="width" value="0.05" units="cm"/>
      <inkml:brushProperty name="height" value="0.05" units="cm"/>
      <inkml:brushProperty name="color" value="#E71224"/>
      <inkml:brushProperty name="ignorePressure" value="1"/>
    </inkml:brush>
  </inkml:definitions>
  <inkml:trace contextRef="#ctx0" brushRef="#br0">0 1,'0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2-08T17:01:17.370"/>
    </inkml:context>
    <inkml:brush xml:id="br0">
      <inkml:brushProperty name="width" value="0.05" units="cm"/>
      <inkml:brushProperty name="height" value="0.05" units="cm"/>
      <inkml:brushProperty name="color" value="#E71224"/>
      <inkml:brushProperty name="ignorePressure" value="1"/>
    </inkml:brush>
  </inkml:definitions>
  <inkml:trace contextRef="#ctx0" brushRef="#br0">1 1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2-08T17:01:17.371"/>
    </inkml:context>
    <inkml:brush xml:id="br0">
      <inkml:brushProperty name="width" value="0.05" units="cm"/>
      <inkml:brushProperty name="height" value="0.05" units="cm"/>
      <inkml:brushProperty name="color" value="#E71224"/>
      <inkml:brushProperty name="ignorePressure" value="1"/>
    </inkml:brush>
  </inkml:definitions>
  <inkml:trace contextRef="#ctx0" brushRef="#br0">0 1,'0'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7-07T10:34:26.345"/>
    </inkml:context>
    <inkml:brush xml:id="br0">
      <inkml:brushProperty name="width" value="0.05" units="cm"/>
      <inkml:brushProperty name="height" value="0.05" units="cm"/>
      <inkml:brushProperty name="color" value="#E71224"/>
      <inkml:brushProperty name="ignorePressure" value="1"/>
    </inkml:brush>
  </inkml:definitions>
  <inkml:trace contextRef="#ctx0" brushRef="#br0">1 1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7-07T10:34:58.377"/>
    </inkml:context>
    <inkml:brush xml:id="br0">
      <inkml:brushProperty name="width" value="0.05" units="cm"/>
      <inkml:brushProperty name="height" value="0.05" units="cm"/>
      <inkml:brushProperty name="color" value="#E71224"/>
      <inkml:brushProperty name="ignorePressure" value="1"/>
    </inkml:brush>
  </inkml:definitions>
  <inkml:trace contextRef="#ctx0" brushRef="#br0">0 1,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40697" cy="344488"/>
          </a:xfrm>
          <a:prstGeom prst="rect">
            <a:avLst/>
          </a:prstGeom>
        </p:spPr>
        <p:txBody>
          <a:bodyPr vert="horz" lIns="94339" tIns="47169" rIns="94339" bIns="4716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75780" y="0"/>
            <a:ext cx="4340697" cy="344488"/>
          </a:xfrm>
          <a:prstGeom prst="rect">
            <a:avLst/>
          </a:prstGeom>
        </p:spPr>
        <p:txBody>
          <a:bodyPr vert="horz" wrap="square" lIns="94339" tIns="47169" rIns="94339" bIns="47169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457D9379-156A-4E47-9989-A2E417BA3EF9}" type="datetimeFigureOut">
              <a:rPr lang="en-US" altLang="en-US"/>
              <a:pPr/>
              <a:t>10/7/2024</a:t>
            </a:fld>
            <a:endParaRPr lang="en-US" alt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286125" y="515938"/>
            <a:ext cx="3446463" cy="2584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339" tIns="47169" rIns="94339" bIns="47169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001872" y="3272631"/>
            <a:ext cx="8014970" cy="3100388"/>
          </a:xfrm>
          <a:prstGeom prst="rect">
            <a:avLst/>
          </a:prstGeom>
        </p:spPr>
        <p:txBody>
          <a:bodyPr vert="horz" lIns="94339" tIns="47169" rIns="94339" bIns="47169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44099"/>
            <a:ext cx="4340697" cy="344488"/>
          </a:xfrm>
          <a:prstGeom prst="rect">
            <a:avLst/>
          </a:prstGeom>
        </p:spPr>
        <p:txBody>
          <a:bodyPr vert="horz" lIns="94339" tIns="47169" rIns="94339" bIns="4716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75780" y="6544099"/>
            <a:ext cx="4340697" cy="344488"/>
          </a:xfrm>
          <a:prstGeom prst="rect">
            <a:avLst/>
          </a:prstGeom>
        </p:spPr>
        <p:txBody>
          <a:bodyPr vert="horz" wrap="square" lIns="94339" tIns="47169" rIns="94339" bIns="47169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7084C4D8-BC66-4A6A-BD46-C7668724EF65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1832679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slide" Target="../slides/slide10.xml"/><Relationship Id="rId4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B19E439-0A36-4389-B1D4-036D35E9F4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62830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Facilitator: [Jogchem]</a:t>
            </a:r>
          </a:p>
          <a:p>
            <a:endParaRPr lang="en-US"/>
          </a:p>
          <a:p>
            <a:r>
              <a:rPr lang="en-US"/>
              <a:t>This is Mandatory and nonnegotiable.</a:t>
            </a:r>
          </a:p>
          <a:p>
            <a:r>
              <a:rPr lang="en-US"/>
              <a:t>This is proven to work.</a:t>
            </a:r>
          </a:p>
          <a:p>
            <a:endParaRPr lang="en-US"/>
          </a:p>
          <a:p>
            <a:r>
              <a:rPr lang="en-US"/>
              <a:t>Performance Dialogues have two directions:</a:t>
            </a:r>
          </a:p>
          <a:p>
            <a:pPr marL="228600" indent="-228600">
              <a:buAutoNum type="arabicPeriod"/>
            </a:pPr>
            <a:r>
              <a:rPr lang="en-US"/>
              <a:t>Cascading Strategy and Targets down</a:t>
            </a:r>
          </a:p>
          <a:p>
            <a:pPr marL="228600" indent="-228600">
              <a:buAutoNum type="arabicPeriod"/>
            </a:pPr>
            <a:r>
              <a:rPr lang="en-US"/>
              <a:t>Escalating Issues up</a:t>
            </a:r>
          </a:p>
          <a:p>
            <a:endParaRPr lang="en-US"/>
          </a:p>
          <a:p>
            <a:r>
              <a:rPr lang="en-US"/>
              <a:t>1. Performance dialogues help to cascade group level KPI targets through different levels (Tiers) of the organization to the shopfloor level.</a:t>
            </a:r>
          </a:p>
          <a:p>
            <a:pPr marL="171450" indent="-171450">
              <a:buFontTx/>
              <a:buChar char="-"/>
            </a:pPr>
            <a:r>
              <a:rPr lang="en-US"/>
              <a:t>Every Tier is measuring performance in their own cadence</a:t>
            </a:r>
          </a:p>
          <a:p>
            <a:pPr marL="171450" indent="-171450">
              <a:buFontTx/>
              <a:buChar char="-"/>
            </a:pPr>
            <a:r>
              <a:rPr lang="en-US"/>
              <a:t>Every Tier is measuring performance with different BUT LINKED KPI’s</a:t>
            </a:r>
          </a:p>
          <a:p>
            <a:pPr marL="628650" lvl="1" indent="-171450">
              <a:buFontTx/>
              <a:buChar char="-"/>
            </a:pPr>
            <a:r>
              <a:rPr lang="en-US"/>
              <a:t>E.g. On Tier 4 we may measure OTIF (Monthly), in Tier 3 of Operations we follow PTP (Weekly), In Tier 2 we follow the SO Stability Index (Weekly) and at Tier 1 Real Time the Standard Operating Conditions (SOC)</a:t>
            </a:r>
          </a:p>
          <a:p>
            <a:pPr marL="0" lvl="0" indent="0">
              <a:buFontTx/>
              <a:buNone/>
            </a:pPr>
            <a:endParaRPr lang="en-US"/>
          </a:p>
          <a:p>
            <a:pPr marL="0" lvl="0" indent="0">
              <a:buFontTx/>
              <a:buNone/>
            </a:pPr>
            <a:r>
              <a:rPr lang="en-US"/>
              <a:t>2. If the team experiences issues with their workload or are not equipped to keep up with solving their problems this must be escalated up one level.</a:t>
            </a:r>
          </a:p>
          <a:p>
            <a:pPr marL="171450" lvl="0" indent="-171450">
              <a:buFontTx/>
              <a:buChar char="-"/>
            </a:pPr>
            <a:r>
              <a:rPr lang="en-US"/>
              <a:t>The level above must analyze why the team is escalating and </a:t>
            </a:r>
            <a:r>
              <a:rPr lang="en-US" err="1"/>
              <a:t>whas</a:t>
            </a:r>
            <a:r>
              <a:rPr lang="en-US"/>
              <a:t> must be changed to support the team</a:t>
            </a:r>
          </a:p>
          <a:p>
            <a:pPr marL="171450" lvl="0" indent="-171450">
              <a:buFontTx/>
              <a:buChar char="-"/>
            </a:pPr>
            <a:r>
              <a:rPr lang="en-US"/>
              <a:t>The level above should not start to do the job of the Tier below because this will most probably force them to escalate problems their own problems.</a:t>
            </a:r>
          </a:p>
          <a:p>
            <a:pPr marL="0" lvl="0" indent="0">
              <a:buFontTx/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86B3DD-2330-4373-B48F-54137A3554F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14904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084C4D8-BC66-4A6A-BD46-C7668724EF65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01643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pPr marL="126146" indent="-126146" defTabSz="533400" fontAlgn="auto">
              <a:spcBef>
                <a:spcPts val="398"/>
              </a:spcBef>
              <a:spcAft>
                <a:spcPts val="0"/>
              </a:spcAft>
              <a:buFont typeface="Verdana" panose="020B060403050404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Arial"/>
                <a:cs typeface="Arial"/>
              </a:rPr>
              <a:t>45-60 mins the same time every week</a:t>
            </a:r>
          </a:p>
          <a:p>
            <a:pPr marL="126146" indent="-126146" defTabSz="533400" fontAlgn="auto">
              <a:spcBef>
                <a:spcPts val="398"/>
              </a:spcBef>
              <a:spcAft>
                <a:spcPts val="0"/>
              </a:spcAft>
              <a:buFont typeface="Verdana" panose="020B060403050404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Arial"/>
                <a:cs typeface="Arial"/>
              </a:rPr>
              <a:t>Project Managers discuss work in progress, achievements since last meeting and planned progress for next meeting</a:t>
            </a:r>
          </a:p>
          <a:p>
            <a:pPr marL="126146" indent="-126146" defTabSz="731270" fontAlgn="auto">
              <a:spcBef>
                <a:spcPts val="398"/>
              </a:spcBef>
              <a:spcAft>
                <a:spcPts val="0"/>
              </a:spcAft>
              <a:buFont typeface="Verdana" panose="020B0604030504040204" pitchFamily="34" charset="0"/>
              <a:buChar char="•"/>
              <a:defRPr sz="1800">
                <a:latin typeface="Verdana"/>
                <a:ea typeface="Verdana"/>
                <a:cs typeface="Verdana"/>
                <a:sym typeface="Verdana"/>
              </a:defRPr>
            </a:pPr>
            <a:r>
              <a:rPr lang="en-US" sz="1200">
                <a:solidFill>
                  <a:srgbClr val="000000"/>
                </a:solidFill>
                <a:latin typeface="Arial"/>
                <a:ea typeface="Verdana"/>
                <a:sym typeface="Verdana"/>
              </a:rPr>
              <a:t>Any new work is placed in the backlog for prioritization; scope of current sprint does not change</a:t>
            </a:r>
          </a:p>
          <a:p>
            <a:pPr marL="126146" indent="-126146" defTabSz="731270" fontAlgn="auto">
              <a:spcBef>
                <a:spcPts val="398"/>
              </a:spcBef>
              <a:spcAft>
                <a:spcPts val="0"/>
              </a:spcAft>
              <a:buFont typeface="Verdana" panose="020B0604030504040204" pitchFamily="34" charset="0"/>
              <a:buChar char="•"/>
              <a:defRPr sz="1800">
                <a:latin typeface="Verdana"/>
                <a:ea typeface="Verdana"/>
                <a:cs typeface="Verdana"/>
                <a:sym typeface="Verdana"/>
              </a:defRPr>
            </a:pPr>
            <a:r>
              <a:rPr lang="en-US" sz="1200">
                <a:solidFill>
                  <a:srgbClr val="000000"/>
                </a:solidFill>
                <a:latin typeface="Arial"/>
                <a:ea typeface="Verdana"/>
                <a:sym typeface="Verdana"/>
              </a:rPr>
              <a:t>Workstream Lead/Portfolio Manager records action item points for escalation and clarifies work requirements</a:t>
            </a:r>
          </a:p>
          <a:p>
            <a:pPr marL="126146" indent="-126146" defTabSz="533400" fontAlgn="auto">
              <a:spcBef>
                <a:spcPts val="398"/>
              </a:spcBef>
              <a:spcAft>
                <a:spcPts val="0"/>
              </a:spcAft>
              <a:buFont typeface="Verdana" panose="020B060403050404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Arial"/>
                <a:cs typeface="Arial"/>
              </a:rPr>
              <a:t>Workstream Lead/Portfolio Manager to follow-up immediately after meeting for any detailed discussion on roadblocks</a:t>
            </a:r>
          </a:p>
          <a:p>
            <a:pPr marL="126146" indent="-126146" defTabSz="533400" fontAlgn="auto">
              <a:spcBef>
                <a:spcPts val="398"/>
              </a:spcBef>
              <a:spcAft>
                <a:spcPts val="0"/>
              </a:spcAft>
              <a:buFont typeface="Verdana" panose="020B0604030504040204" pitchFamily="34" charset="0"/>
              <a:buChar char="•"/>
            </a:pPr>
            <a:r>
              <a:rPr lang="en-US" sz="1200" b="1">
                <a:solidFill>
                  <a:srgbClr val="000000"/>
                </a:solidFill>
                <a:latin typeface="Arial"/>
                <a:cs typeface="Arial"/>
              </a:rPr>
              <a:t>Once per month:</a:t>
            </a:r>
            <a:r>
              <a:rPr lang="en-US" sz="1200">
                <a:solidFill>
                  <a:srgbClr val="000000"/>
                </a:solidFill>
                <a:latin typeface="Arial"/>
                <a:cs typeface="Arial"/>
              </a:rPr>
              <a:t> Review pipeline for progress against Target and ensure completed projects are delivering value</a:t>
            </a:r>
            <a:endParaRPr lang="en-US" sz="1200" b="1">
              <a:solidFill>
                <a:srgbClr val="000000"/>
              </a:solidFill>
              <a:latin typeface="Arial"/>
              <a:cs typeface="Arial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65EDD9DA-8DA7-468C-986A-1D94B59451F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itchFamily="34" charset="-128"/>
                <a:cs typeface="Arial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123366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084C4D8-BC66-4A6A-BD46-C7668724EF65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31025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customXml" Target="../ink/ink1.xml"/><Relationship Id="rId1" Type="http://schemas.openxmlformats.org/officeDocument/2006/relationships/slideMaster" Target="../slideMasters/slideMaster1.xml"/><Relationship Id="rId4" Type="http://schemas.openxmlformats.org/officeDocument/2006/relationships/customXml" Target="../ink/ink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7" Type="http://schemas.openxmlformats.org/officeDocument/2006/relationships/customXml" Target="../ink/ink6.xml"/><Relationship Id="rId2" Type="http://schemas.openxmlformats.org/officeDocument/2006/relationships/customXml" Target="../ink/ink3.xml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customXml" Target="../ink/ink5.xml"/><Relationship Id="rId4" Type="http://schemas.openxmlformats.org/officeDocument/2006/relationships/customXml" Target="../ink/ink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customXml" Target="../ink/ink7.xml"/><Relationship Id="rId1" Type="http://schemas.openxmlformats.org/officeDocument/2006/relationships/slideMaster" Target="../slideMasters/slideMaster3.xml"/><Relationship Id="rId4" Type="http://schemas.openxmlformats.org/officeDocument/2006/relationships/customXml" Target="../ink/ink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PhotoMosaic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 Diagonal Corner Rectangle 8"/>
          <p:cNvSpPr/>
          <p:nvPr userDrawn="1"/>
        </p:nvSpPr>
        <p:spPr>
          <a:xfrm>
            <a:off x="6607175" y="2112433"/>
            <a:ext cx="2332038" cy="3843867"/>
          </a:xfrm>
          <a:prstGeom prst="round2DiagRect">
            <a:avLst>
              <a:gd name="adj1" fmla="val 0"/>
              <a:gd name="adj2" fmla="val 7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0" name="Round Diagonal Corner Rectangle 9"/>
          <p:cNvSpPr/>
          <p:nvPr userDrawn="1"/>
        </p:nvSpPr>
        <p:spPr>
          <a:xfrm>
            <a:off x="6602414" y="518585"/>
            <a:ext cx="1597025" cy="1452033"/>
          </a:xfrm>
          <a:prstGeom prst="round2DiagRect">
            <a:avLst>
              <a:gd name="adj1" fmla="val 1506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 hasCustomPrompt="1"/>
          </p:nvPr>
        </p:nvSpPr>
        <p:spPr>
          <a:xfrm>
            <a:off x="188092" y="228600"/>
            <a:ext cx="6318504" cy="5715000"/>
          </a:xfrm>
          <a:prstGeom prst="round2DiagRect">
            <a:avLst>
              <a:gd name="adj1" fmla="val 3724"/>
              <a:gd name="adj2" fmla="val 0"/>
            </a:avLst>
          </a:prstGeom>
          <a:solidFill>
            <a:schemeClr val="tx2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Double click icon to add picture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868962" y="2697480"/>
            <a:ext cx="1806059" cy="1485403"/>
          </a:xfrm>
        </p:spPr>
        <p:txBody>
          <a:bodyPr t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cover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68963" y="4206241"/>
            <a:ext cx="1806059" cy="1317625"/>
          </a:xfrm>
        </p:spPr>
        <p:txBody>
          <a:bodyPr tIns="0" bIns="0">
            <a:noAutofit/>
          </a:bodyPr>
          <a:lstStyle>
            <a:lvl1pPr marL="0" indent="0">
              <a:buFontTx/>
              <a:buNone/>
              <a:defRPr sz="1400" b="0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cover subtitle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2775157" y="6511173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</a:t>
            </a:r>
            <a:r>
              <a:rPr lang="en-US" altLang="en-US" sz="700" baseline="30000" dirty="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sp>
        <p:nvSpPr>
          <p:cNvPr id="12" name="Flowchart: Document 10">
            <a:extLst>
              <a:ext uri="{FF2B5EF4-FFF2-40B4-BE49-F238E27FC236}">
                <a16:creationId xmlns:a16="http://schemas.microsoft.com/office/drawing/2014/main" id="{E6631F1C-F965-814E-9D5A-F4733C03282E}"/>
              </a:ext>
            </a:extLst>
          </p:cNvPr>
          <p:cNvSpPr/>
          <p:nvPr userDrawn="1"/>
        </p:nvSpPr>
        <p:spPr>
          <a:xfrm>
            <a:off x="-1811708" y="189706"/>
            <a:ext cx="1811708" cy="1503363"/>
          </a:xfrm>
          <a:prstGeom prst="flowChartDocument">
            <a:avLst/>
          </a:prstGeom>
          <a:solidFill>
            <a:srgbClr val="FF00FF"/>
          </a:solidFill>
          <a:ln>
            <a:solidFill>
              <a:srgbClr val="CC00CC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Changing image:</a:t>
            </a:r>
          </a:p>
          <a:p>
            <a:pPr eaLnBrk="1" hangingPunct="1"/>
            <a:endParaRPr lang="en-US" altLang="en-US" sz="1000" dirty="0">
              <a:latin typeface="Arial" pitchFamily="34" charset="0"/>
              <a:cs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elete current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ouble click icon to select new image</a:t>
            </a:r>
          </a:p>
        </p:txBody>
      </p:sp>
    </p:spTree>
    <p:extLst>
      <p:ext uri="{BB962C8B-B14F-4D97-AF65-F5344CB8AC3E}">
        <p14:creationId xmlns:p14="http://schemas.microsoft.com/office/powerpoint/2010/main" val="27673319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neutr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2392D36-4719-4F0F-A6C8-80746FD2A04B}"/>
              </a:ext>
            </a:extLst>
          </p:cNvPr>
          <p:cNvSpPr/>
          <p:nvPr userDrawn="1"/>
        </p:nvSpPr>
        <p:spPr>
          <a:xfrm>
            <a:off x="0" y="4838699"/>
            <a:ext cx="9144000" cy="2019301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6AA0A42-6288-4BD0-876E-3C9A57F80368}"/>
              </a:ext>
            </a:extLst>
          </p:cNvPr>
          <p:cNvSpPr/>
          <p:nvPr userDrawn="1"/>
        </p:nvSpPr>
        <p:spPr>
          <a:xfrm>
            <a:off x="0" y="-1"/>
            <a:ext cx="9144000" cy="483870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B44A1C-AD8C-444F-A68E-DB6A3EEC67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-1"/>
            <a:ext cx="4495510" cy="4838700"/>
          </a:xfrm>
          <a:noFill/>
        </p:spPr>
        <p:txBody>
          <a:bodyPr lIns="324000" anchor="ctr" anchorCtr="0"/>
          <a:lstStyle>
            <a:lvl1pPr marL="0" indent="0">
              <a:spcBef>
                <a:spcPts val="0"/>
              </a:spcBef>
              <a:buNone/>
              <a:defRPr sz="6500" spc="-1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775157" y="6511174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chemeClr val="bg1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chemeClr val="bg1"/>
                </a:solidFill>
              </a:rPr>
              <a:t>2022</a:t>
            </a:r>
            <a:r>
              <a:rPr lang="en-US" altLang="en-US" sz="700" baseline="30000" dirty="0">
                <a:solidFill>
                  <a:schemeClr val="bg1"/>
                </a:solidFill>
              </a:rPr>
              <a:t> Cargill, Incorporated. All rights reserved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2E4E66B-F82C-45DC-A708-72F2E8D1D5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" y="5001684"/>
            <a:ext cx="5319512" cy="829733"/>
          </a:xfrm>
        </p:spPr>
        <p:txBody>
          <a:bodyPr lIns="324000"/>
          <a:lstStyle>
            <a:lvl1pPr marL="0" indent="0">
              <a:buNone/>
              <a:defRPr sz="1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A33D911-5849-40C9-B782-2671951083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7600" y="6163200"/>
            <a:ext cx="1566000" cy="492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05379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Title_Head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5" y="6534180"/>
            <a:ext cx="125034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925084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FooterOnly_NoLin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5" y="6534180"/>
            <a:ext cx="125034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0851" y="6534179"/>
            <a:ext cx="5394960" cy="12279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97999B"/>
                </a:solidFill>
                <a:cs typeface="Arial" charset="0"/>
              </a:rPr>
              <a:t>Leading with Agile Mindset</a:t>
            </a:r>
            <a:endParaRPr lang="en-US">
              <a:solidFill>
                <a:srgbClr val="FF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6276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Title_NoHeaderLin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altLang="en-US"/>
              <a:t>Click to edit slide title</a:t>
            </a:r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5" y="6534180"/>
            <a:ext cx="125034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0851" y="6534179"/>
            <a:ext cx="5394960" cy="12279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97999B"/>
                </a:solidFill>
                <a:cs typeface="Arial" charset="0"/>
              </a:rPr>
              <a:t>Leading with Agile Mindset</a:t>
            </a:r>
            <a:endParaRPr lang="en-US">
              <a:solidFill>
                <a:srgbClr val="FF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092447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2080720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2-Column_w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104881"/>
            <a:ext cx="4040188" cy="639763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496" b="1">
                <a:solidFill>
                  <a:schemeClr val="accent2"/>
                </a:solidFill>
              </a:defRPr>
            </a:lvl1pPr>
            <a:lvl2pPr marL="342036" indent="0">
              <a:buNone/>
              <a:defRPr sz="1496" b="1"/>
            </a:lvl2pPr>
            <a:lvl3pPr marL="684070" indent="0">
              <a:buNone/>
              <a:defRPr sz="1347" b="1"/>
            </a:lvl3pPr>
            <a:lvl4pPr marL="1026105" indent="0">
              <a:buNone/>
              <a:defRPr sz="1197" b="1"/>
            </a:lvl4pPr>
            <a:lvl5pPr marL="1368140" indent="0">
              <a:buNone/>
              <a:defRPr sz="1197" b="1"/>
            </a:lvl5pPr>
            <a:lvl6pPr marL="1710175" indent="0">
              <a:buNone/>
              <a:defRPr sz="1197" b="1"/>
            </a:lvl6pPr>
            <a:lvl7pPr marL="2052208" indent="0">
              <a:buNone/>
              <a:defRPr sz="1197" b="1"/>
            </a:lvl7pPr>
            <a:lvl8pPr marL="2394244" indent="0">
              <a:buNone/>
              <a:defRPr sz="1197" b="1"/>
            </a:lvl8pPr>
            <a:lvl9pPr marL="2736279" indent="0">
              <a:buNone/>
              <a:defRPr sz="119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873682"/>
            <a:ext cx="4040188" cy="4252487"/>
          </a:xfrm>
        </p:spPr>
        <p:txBody>
          <a:bodyPr/>
          <a:lstStyle>
            <a:lvl1pPr>
              <a:lnSpc>
                <a:spcPct val="100000"/>
              </a:lnSpc>
              <a:defRPr sz="1197"/>
            </a:lvl1pPr>
            <a:lvl2pPr>
              <a:lnSpc>
                <a:spcPct val="100000"/>
              </a:lnSpc>
              <a:defRPr sz="1197"/>
            </a:lvl2pPr>
            <a:lvl3pPr>
              <a:lnSpc>
                <a:spcPct val="100000"/>
              </a:lnSpc>
              <a:defRPr sz="1048"/>
            </a:lvl3pPr>
            <a:lvl4pPr>
              <a:lnSpc>
                <a:spcPct val="100000"/>
              </a:lnSpc>
              <a:defRPr sz="898"/>
            </a:lvl4pPr>
            <a:lvl5pPr>
              <a:defRPr sz="898"/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104881"/>
            <a:ext cx="4041775" cy="639763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496" b="1">
                <a:solidFill>
                  <a:schemeClr val="accent2"/>
                </a:solidFill>
              </a:defRPr>
            </a:lvl1pPr>
            <a:lvl2pPr marL="342036" indent="0">
              <a:buNone/>
              <a:defRPr sz="1496" b="1"/>
            </a:lvl2pPr>
            <a:lvl3pPr marL="684070" indent="0">
              <a:buNone/>
              <a:defRPr sz="1347" b="1"/>
            </a:lvl3pPr>
            <a:lvl4pPr marL="1026105" indent="0">
              <a:buNone/>
              <a:defRPr sz="1197" b="1"/>
            </a:lvl4pPr>
            <a:lvl5pPr marL="1368140" indent="0">
              <a:buNone/>
              <a:defRPr sz="1197" b="1"/>
            </a:lvl5pPr>
            <a:lvl6pPr marL="1710175" indent="0">
              <a:buNone/>
              <a:defRPr sz="1197" b="1"/>
            </a:lvl6pPr>
            <a:lvl7pPr marL="2052208" indent="0">
              <a:buNone/>
              <a:defRPr sz="1197" b="1"/>
            </a:lvl7pPr>
            <a:lvl8pPr marL="2394244" indent="0">
              <a:buNone/>
              <a:defRPr sz="1197" b="1"/>
            </a:lvl8pPr>
            <a:lvl9pPr marL="2736279" indent="0">
              <a:buNone/>
              <a:defRPr sz="119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1873682"/>
            <a:ext cx="4041775" cy="4252487"/>
          </a:xfrm>
        </p:spPr>
        <p:txBody>
          <a:bodyPr/>
          <a:lstStyle>
            <a:lvl1pPr>
              <a:lnSpc>
                <a:spcPct val="100000"/>
              </a:lnSpc>
              <a:defRPr sz="1197"/>
            </a:lvl1pPr>
            <a:lvl2pPr>
              <a:lnSpc>
                <a:spcPct val="100000"/>
              </a:lnSpc>
              <a:defRPr sz="1197"/>
            </a:lvl2pPr>
            <a:lvl3pPr>
              <a:lnSpc>
                <a:spcPct val="100000"/>
              </a:lnSpc>
              <a:defRPr sz="1048"/>
            </a:lvl3pPr>
            <a:lvl4pPr>
              <a:lnSpc>
                <a:spcPct val="100000"/>
              </a:lnSpc>
              <a:defRPr sz="898"/>
            </a:lvl4pPr>
            <a:lvl5pPr>
              <a:defRPr sz="898"/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562105" y="6534180"/>
            <a:ext cx="125034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0851" y="6534179"/>
            <a:ext cx="5394960" cy="12279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97999B"/>
                </a:solidFill>
                <a:cs typeface="Arial" charset="0"/>
              </a:rPr>
              <a:t>Leading with Agile Mindset</a:t>
            </a:r>
            <a:endParaRPr lang="en-US">
              <a:solidFill>
                <a:srgbClr val="FF0000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200" y="10668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385826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1D1C49B-3409-462A-8C0C-06051CFA8D6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04359" y="1140910"/>
            <a:ext cx="1405852" cy="1874469"/>
          </a:xfrm>
          <a:custGeom>
            <a:avLst/>
            <a:gdLst>
              <a:gd name="connsiteX0" fmla="*/ 96517 w 1874469"/>
              <a:gd name="connsiteY0" fmla="*/ 0 h 1874469"/>
              <a:gd name="connsiteX1" fmla="*/ 1777952 w 1874469"/>
              <a:gd name="connsiteY1" fmla="*/ 0 h 1874469"/>
              <a:gd name="connsiteX2" fmla="*/ 1874469 w 1874469"/>
              <a:gd name="connsiteY2" fmla="*/ 96517 h 1874469"/>
              <a:gd name="connsiteX3" fmla="*/ 1874469 w 1874469"/>
              <a:gd name="connsiteY3" fmla="*/ 1777952 h 1874469"/>
              <a:gd name="connsiteX4" fmla="*/ 1777952 w 1874469"/>
              <a:gd name="connsiteY4" fmla="*/ 1874469 h 1874469"/>
              <a:gd name="connsiteX5" fmla="*/ 96517 w 1874469"/>
              <a:gd name="connsiteY5" fmla="*/ 1874469 h 1874469"/>
              <a:gd name="connsiteX6" fmla="*/ 0 w 1874469"/>
              <a:gd name="connsiteY6" fmla="*/ 1777952 h 1874469"/>
              <a:gd name="connsiteX7" fmla="*/ 0 w 1874469"/>
              <a:gd name="connsiteY7" fmla="*/ 96517 h 1874469"/>
              <a:gd name="connsiteX8" fmla="*/ 96517 w 1874469"/>
              <a:gd name="connsiteY8" fmla="*/ 0 h 1874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4469" h="1874469">
                <a:moveTo>
                  <a:pt x="96517" y="0"/>
                </a:moveTo>
                <a:lnTo>
                  <a:pt x="1777952" y="0"/>
                </a:lnTo>
                <a:cubicBezTo>
                  <a:pt x="1831258" y="0"/>
                  <a:pt x="1874469" y="43212"/>
                  <a:pt x="1874469" y="96517"/>
                </a:cubicBezTo>
                <a:lnTo>
                  <a:pt x="1874469" y="1777952"/>
                </a:lnTo>
                <a:cubicBezTo>
                  <a:pt x="1874469" y="1831258"/>
                  <a:pt x="1831258" y="1874469"/>
                  <a:pt x="1777952" y="1874469"/>
                </a:cubicBezTo>
                <a:lnTo>
                  <a:pt x="96517" y="1874469"/>
                </a:lnTo>
                <a:cubicBezTo>
                  <a:pt x="43212" y="1874469"/>
                  <a:pt x="0" y="1831258"/>
                  <a:pt x="0" y="1777952"/>
                </a:cubicBezTo>
                <a:lnTo>
                  <a:pt x="0" y="96517"/>
                </a:lnTo>
                <a:cubicBezTo>
                  <a:pt x="0" y="43212"/>
                  <a:pt x="43212" y="0"/>
                  <a:pt x="96517" y="0"/>
                </a:cubicBezTo>
                <a:close/>
              </a:path>
            </a:pathLst>
          </a:custGeom>
          <a:noFill/>
          <a:ln>
            <a:noFill/>
          </a:ln>
          <a:effectLst>
            <a:outerShdw blurRad="1270000" dist="546100" dir="5400000" sx="87000" sy="87000" algn="t" rotWithShape="0">
              <a:schemeClr val="accent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US" sz="100" b="1">
                <a:solidFill>
                  <a:schemeClr val="bg1">
                    <a:lumMod val="95000"/>
                    <a:alpha val="40000"/>
                  </a:schemeClr>
                </a:solidFill>
                <a:latin typeface="Nexa Bold" panose="02000000000000000000" pitchFamily="50" charset="0"/>
              </a:defRPr>
            </a:lvl1pPr>
          </a:lstStyle>
          <a:p>
            <a:pPr marL="0" lvl="0" algn="ctr" defTabSz="342909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12492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Thriv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Round Diagonal Corner Rectangle 6"/>
          <p:cNvSpPr/>
          <p:nvPr userDrawn="1"/>
        </p:nvSpPr>
        <p:spPr>
          <a:xfrm>
            <a:off x="6092825" y="457200"/>
            <a:ext cx="2359025" cy="1600200"/>
          </a:xfrm>
          <a:prstGeom prst="round2DiagRect">
            <a:avLst>
              <a:gd name="adj1" fmla="val 12797"/>
              <a:gd name="adj2" fmla="val 0"/>
            </a:avLst>
          </a:prstGeom>
          <a:solidFill>
            <a:srgbClr val="279989"/>
          </a:solidFill>
          <a:ln>
            <a:solidFill>
              <a:srgbClr val="2799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Round Diagonal Corner Rectangle 7"/>
          <p:cNvSpPr/>
          <p:nvPr userDrawn="1"/>
        </p:nvSpPr>
        <p:spPr>
          <a:xfrm>
            <a:off x="6092825" y="2166938"/>
            <a:ext cx="2817813" cy="3775075"/>
          </a:xfrm>
          <a:prstGeom prst="round2DiagRect">
            <a:avLst>
              <a:gd name="adj1" fmla="val 0"/>
              <a:gd name="adj2" fmla="val 8742"/>
            </a:avLst>
          </a:prstGeom>
          <a:solidFill>
            <a:srgbClr val="519137"/>
          </a:solidFill>
          <a:ln>
            <a:solidFill>
              <a:srgbClr val="5191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2541588" y="6511171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© 2017 Cargill, Incorporated. All rights reserved.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>
          <a:xfrm>
            <a:off x="0" y="228600"/>
            <a:ext cx="5980176" cy="5715000"/>
          </a:xfrm>
          <a:prstGeom prst="rect">
            <a:avLst/>
          </a:prstGeom>
          <a:solidFill>
            <a:schemeClr val="bg1"/>
          </a:solidFill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6382511" y="2697480"/>
            <a:ext cx="2249424" cy="1619459"/>
          </a:xfrm>
        </p:spPr>
        <p:txBody>
          <a:bodyPr tIns="0" bIns="0">
            <a:no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/>
          </p:nvPr>
        </p:nvSpPr>
        <p:spPr bwMode="gray">
          <a:xfrm>
            <a:off x="6382511" y="4206240"/>
            <a:ext cx="2249424" cy="1317625"/>
          </a:xfrm>
        </p:spPr>
        <p:txBody>
          <a:bodyPr tIns="0" bIns="0">
            <a:noAutofit/>
          </a:bodyPr>
          <a:lstStyle>
            <a:lvl1pPr>
              <a:buFontTx/>
              <a:buNone/>
              <a:defRPr sz="1400" b="1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82F9FD9-C96F-4D17-85E0-8604235D044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188" y="6334760"/>
            <a:ext cx="908741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79494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ThriveBottom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Round Diagonal Corner Rectangle 6"/>
          <p:cNvSpPr/>
          <p:nvPr userDrawn="1"/>
        </p:nvSpPr>
        <p:spPr>
          <a:xfrm>
            <a:off x="6092825" y="230188"/>
            <a:ext cx="2359025" cy="1600200"/>
          </a:xfrm>
          <a:prstGeom prst="round2DiagRect">
            <a:avLst>
              <a:gd name="adj1" fmla="val 12797"/>
              <a:gd name="adj2" fmla="val 0"/>
            </a:avLst>
          </a:prstGeom>
          <a:solidFill>
            <a:srgbClr val="279989"/>
          </a:solidFill>
          <a:ln>
            <a:solidFill>
              <a:srgbClr val="2799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Round Diagonal Corner Rectangle 7"/>
          <p:cNvSpPr/>
          <p:nvPr userDrawn="1"/>
        </p:nvSpPr>
        <p:spPr>
          <a:xfrm>
            <a:off x="6092825" y="1939925"/>
            <a:ext cx="2817813" cy="3305175"/>
          </a:xfrm>
          <a:prstGeom prst="round2DiagRect">
            <a:avLst>
              <a:gd name="adj1" fmla="val 0"/>
              <a:gd name="adj2" fmla="val 8742"/>
            </a:avLst>
          </a:prstGeom>
          <a:solidFill>
            <a:srgbClr val="519137"/>
          </a:solidFill>
          <a:ln>
            <a:solidFill>
              <a:srgbClr val="5191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2541588" y="6511171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© 2017 Cargill, Incorporated. All rights reserved.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>
          <a:xfrm>
            <a:off x="0" y="228600"/>
            <a:ext cx="5980176" cy="5715000"/>
          </a:xfrm>
          <a:prstGeom prst="rect">
            <a:avLst/>
          </a:prstGeom>
          <a:solidFill>
            <a:schemeClr val="bg1"/>
          </a:solidFill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6382511" y="2470566"/>
            <a:ext cx="2249424" cy="1619459"/>
          </a:xfrm>
        </p:spPr>
        <p:txBody>
          <a:bodyPr tIns="0" bIns="0">
            <a:no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/>
          </p:nvPr>
        </p:nvSpPr>
        <p:spPr bwMode="gray">
          <a:xfrm>
            <a:off x="6382511" y="3979327"/>
            <a:ext cx="2249424" cy="1262750"/>
          </a:xfrm>
        </p:spPr>
        <p:txBody>
          <a:bodyPr tIns="0" bIns="0">
            <a:noAutofit/>
          </a:bodyPr>
          <a:lstStyle>
            <a:lvl1pPr>
              <a:buFontTx/>
              <a:buNone/>
              <a:defRPr sz="1400" b="1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253DE57-4968-4074-A2C0-92EB2C9839F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188" y="6334760"/>
            <a:ext cx="908741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52438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NoThriv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Round Diagonal Corner Rectangle 6"/>
          <p:cNvSpPr/>
          <p:nvPr userDrawn="1"/>
        </p:nvSpPr>
        <p:spPr>
          <a:xfrm>
            <a:off x="6092825" y="2368550"/>
            <a:ext cx="2817813" cy="3575050"/>
          </a:xfrm>
          <a:prstGeom prst="round2DiagRect">
            <a:avLst>
              <a:gd name="adj1" fmla="val 0"/>
              <a:gd name="adj2" fmla="val 8742"/>
            </a:avLst>
          </a:prstGeom>
          <a:solidFill>
            <a:srgbClr val="519137"/>
          </a:solidFill>
          <a:ln>
            <a:solidFill>
              <a:srgbClr val="5191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ound Diagonal Corner Rectangle 7"/>
          <p:cNvSpPr/>
          <p:nvPr userDrawn="1"/>
        </p:nvSpPr>
        <p:spPr>
          <a:xfrm>
            <a:off x="6086475" y="685800"/>
            <a:ext cx="2354263" cy="1573213"/>
          </a:xfrm>
          <a:prstGeom prst="round2DiagRect">
            <a:avLst>
              <a:gd name="adj1" fmla="val 12797"/>
              <a:gd name="adj2" fmla="val 0"/>
            </a:avLst>
          </a:prstGeom>
          <a:solidFill>
            <a:srgbClr val="279989"/>
          </a:solidFill>
          <a:ln>
            <a:solidFill>
              <a:srgbClr val="2799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2541588" y="6511171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2017 Cargill, Incorporated. All rights reserved.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>
          <a:xfrm>
            <a:off x="230188" y="228600"/>
            <a:ext cx="5751576" cy="5715000"/>
          </a:xfrm>
          <a:prstGeom prst="round2DiagRect">
            <a:avLst>
              <a:gd name="adj1" fmla="val 3724"/>
              <a:gd name="adj2" fmla="val 0"/>
            </a:avLst>
          </a:prstGeom>
          <a:solidFill>
            <a:schemeClr val="bg1"/>
          </a:solidFill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6382511" y="2697480"/>
            <a:ext cx="2249424" cy="1619459"/>
          </a:xfrm>
        </p:spPr>
        <p:txBody>
          <a:bodyPr tIns="0" bIns="0">
            <a:no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/>
          </p:nvPr>
        </p:nvSpPr>
        <p:spPr bwMode="gray">
          <a:xfrm>
            <a:off x="6382512" y="4206240"/>
            <a:ext cx="2249424" cy="1317625"/>
          </a:xfrm>
        </p:spPr>
        <p:txBody>
          <a:bodyPr tIns="0" bIns="0">
            <a:noAutofit/>
          </a:bodyPr>
          <a:lstStyle>
            <a:lvl1pPr>
              <a:buFontTx/>
              <a:buNone/>
              <a:defRPr sz="1400" b="1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8FA935D-B228-4EEB-A1D0-5ACCDECD54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188" y="6334760"/>
            <a:ext cx="908741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36832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NoPhoto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Round Diagonal Corner Rectangle 5"/>
          <p:cNvSpPr/>
          <p:nvPr userDrawn="1"/>
        </p:nvSpPr>
        <p:spPr>
          <a:xfrm>
            <a:off x="230188" y="228600"/>
            <a:ext cx="7223125" cy="5711825"/>
          </a:xfrm>
          <a:prstGeom prst="round2DiagRect">
            <a:avLst>
              <a:gd name="adj1" fmla="val 0"/>
              <a:gd name="adj2" fmla="val 4027"/>
            </a:avLst>
          </a:prstGeom>
          <a:solidFill>
            <a:srgbClr val="519137"/>
          </a:solidFill>
          <a:ln>
            <a:solidFill>
              <a:srgbClr val="5191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ound Diagonal Corner Rectangle 6"/>
          <p:cNvSpPr/>
          <p:nvPr userDrawn="1"/>
        </p:nvSpPr>
        <p:spPr>
          <a:xfrm>
            <a:off x="7562850" y="3078163"/>
            <a:ext cx="1352550" cy="2862262"/>
          </a:xfrm>
          <a:prstGeom prst="round2DiagRect">
            <a:avLst>
              <a:gd name="adj1" fmla="val 612"/>
              <a:gd name="adj2" fmla="val 16610"/>
            </a:avLst>
          </a:prstGeom>
          <a:solidFill>
            <a:srgbClr val="279989"/>
          </a:solidFill>
          <a:ln>
            <a:solidFill>
              <a:srgbClr val="2799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ound Diagonal Corner Rectangle 7"/>
          <p:cNvSpPr/>
          <p:nvPr userDrawn="1"/>
        </p:nvSpPr>
        <p:spPr>
          <a:xfrm>
            <a:off x="7562850" y="1828800"/>
            <a:ext cx="1352550" cy="1143000"/>
          </a:xfrm>
          <a:prstGeom prst="round2DiagRect">
            <a:avLst>
              <a:gd name="adj1" fmla="val 20468"/>
              <a:gd name="adj2" fmla="val 0"/>
            </a:avLst>
          </a:prstGeom>
          <a:solidFill>
            <a:srgbClr val="007B8A"/>
          </a:solidFill>
          <a:ln>
            <a:solidFill>
              <a:srgbClr val="007B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2541588" y="6475264"/>
            <a:ext cx="3529012" cy="179536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</a:t>
            </a:r>
            <a:r>
              <a:rPr lang="en-US" altLang="en-US" sz="700" baseline="0" dirty="0">
                <a:solidFill>
                  <a:srgbClr val="959595"/>
                </a:solidFill>
              </a:rPr>
              <a:t> </a:t>
            </a:r>
            <a:r>
              <a:rPr lang="en-US" altLang="en-US" sz="700" baseline="30000" dirty="0">
                <a:solidFill>
                  <a:srgbClr val="959595"/>
                </a:solidFill>
              </a:rPr>
              <a:t>© 2017 Cargill, Incorporated. All rights reserved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40664" y="1170432"/>
            <a:ext cx="5029200" cy="1828800"/>
          </a:xfrm>
        </p:spPr>
        <p:txBody>
          <a:bodyPr tIns="0" bIns="0">
            <a:noAutofit/>
          </a:bodyPr>
          <a:lstStyle>
            <a:lvl1pPr marL="0" indent="0" algn="l">
              <a:lnSpc>
                <a:spcPts val="5000"/>
              </a:lnSpc>
              <a:spcBef>
                <a:spcPts val="0"/>
              </a:spcBef>
              <a:buNone/>
              <a:defRPr sz="48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/>
          </p:nvPr>
        </p:nvSpPr>
        <p:spPr bwMode="gray">
          <a:xfrm>
            <a:off x="740664" y="3430587"/>
            <a:ext cx="5029200" cy="914400"/>
          </a:xfrm>
        </p:spPr>
        <p:txBody>
          <a:bodyPr tIns="0" bIns="0">
            <a:noAutofit/>
          </a:bodyPr>
          <a:lstStyle>
            <a:lvl1pPr>
              <a:lnSpc>
                <a:spcPts val="3000"/>
              </a:lnSpc>
              <a:buFontTx/>
              <a:buNone/>
              <a:defRPr sz="2400" b="1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E29BF44-0B40-4B06-8D7F-EF1F36D9C4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188" y="6334760"/>
            <a:ext cx="908741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9075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Break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Diagonal Corner Rectangle 5"/>
          <p:cNvSpPr/>
          <p:nvPr userDrawn="1"/>
        </p:nvSpPr>
        <p:spPr>
          <a:xfrm>
            <a:off x="230188" y="228601"/>
            <a:ext cx="8686800" cy="571182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40664" y="1847088"/>
            <a:ext cx="7424928" cy="2340864"/>
          </a:xfrm>
        </p:spPr>
        <p:txBody>
          <a:bodyPr/>
          <a:lstStyle>
            <a:lvl1pPr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ection title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2" y="649800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8000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97999B"/>
                </a:solidFill>
                <a:cs typeface="Arial" charset="0"/>
              </a:rPr>
              <a:t>Footer</a:t>
            </a:r>
            <a:endParaRPr lang="en-US" dirty="0">
              <a:solidFill>
                <a:srgbClr val="FF0000"/>
              </a:solidFill>
              <a:cs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2051960-6DF8-476E-BFC2-A24414685243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663043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LowInk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Round Diagonal Corner Rectangle 5"/>
          <p:cNvSpPr/>
          <p:nvPr userDrawn="1"/>
        </p:nvSpPr>
        <p:spPr>
          <a:xfrm>
            <a:off x="758825" y="228600"/>
            <a:ext cx="977900" cy="603250"/>
          </a:xfrm>
          <a:prstGeom prst="round2DiagRect">
            <a:avLst>
              <a:gd name="adj1" fmla="val 0"/>
              <a:gd name="adj2" fmla="val 20819"/>
            </a:avLst>
          </a:prstGeom>
          <a:solidFill>
            <a:srgbClr val="519137"/>
          </a:solidFill>
          <a:ln>
            <a:solidFill>
              <a:srgbClr val="5191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ound Diagonal Corner Rectangle 6"/>
          <p:cNvSpPr/>
          <p:nvPr userDrawn="1"/>
        </p:nvSpPr>
        <p:spPr>
          <a:xfrm>
            <a:off x="758825" y="914400"/>
            <a:ext cx="530225" cy="292100"/>
          </a:xfrm>
          <a:prstGeom prst="round2DiagRect">
            <a:avLst>
              <a:gd name="adj1" fmla="val 36979"/>
              <a:gd name="adj2" fmla="val 0"/>
            </a:avLst>
          </a:prstGeom>
          <a:solidFill>
            <a:srgbClr val="279989"/>
          </a:solidFill>
          <a:ln>
            <a:solidFill>
              <a:srgbClr val="2799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758825" y="4562475"/>
            <a:ext cx="631825" cy="153988"/>
          </a:xfrm>
          <a:prstGeom prst="rect">
            <a:avLst/>
          </a:prstGeom>
          <a:solidFill>
            <a:srgbClr val="519137"/>
          </a:solidFill>
          <a:ln>
            <a:solidFill>
              <a:srgbClr val="5191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2541588" y="6475264"/>
            <a:ext cx="3529012" cy="179536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</a:t>
            </a:r>
            <a:r>
              <a:rPr lang="en-US" altLang="en-US" sz="700" baseline="0" dirty="0">
                <a:solidFill>
                  <a:srgbClr val="959595"/>
                </a:solidFill>
              </a:rPr>
              <a:t> </a:t>
            </a:r>
            <a:r>
              <a:rPr lang="en-US" altLang="en-US" sz="700" baseline="30000" dirty="0">
                <a:solidFill>
                  <a:srgbClr val="959595"/>
                </a:solidFill>
              </a:rPr>
              <a:t>who do not have a need to know is prohibited. © 2017 Cargill, Incorporated. All rights reserved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0664" y="2258568"/>
            <a:ext cx="7040880" cy="2057400"/>
          </a:xfrm>
          <a:noFill/>
        </p:spPr>
        <p:txBody>
          <a:bodyPr tIns="0" bIns="0">
            <a:noAutofit/>
          </a:bodyPr>
          <a:lstStyle>
            <a:lvl1pPr marL="0" indent="0" algn="l">
              <a:lnSpc>
                <a:spcPts val="7900"/>
              </a:lnSpc>
              <a:spcBef>
                <a:spcPts val="0"/>
              </a:spcBef>
              <a:buNone/>
              <a:defRPr sz="6900" b="1">
                <a:solidFill>
                  <a:srgbClr val="519137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/>
          </p:nvPr>
        </p:nvSpPr>
        <p:spPr>
          <a:xfrm>
            <a:off x="740664" y="4791456"/>
            <a:ext cx="5486400" cy="1271016"/>
          </a:xfrm>
          <a:noFill/>
        </p:spPr>
        <p:txBody>
          <a:bodyPr tIns="0" bIns="0">
            <a:noAutofit/>
          </a:bodyPr>
          <a:lstStyle>
            <a:lvl1pPr>
              <a:lnSpc>
                <a:spcPts val="3000"/>
              </a:lnSpc>
              <a:buFontTx/>
              <a:buNone/>
              <a:defRPr sz="2400" b="1" baseline="0">
                <a:solidFill>
                  <a:srgbClr val="279989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7258F0A-C2CD-447C-9093-DB7A08CFBDC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664" y="6334760"/>
            <a:ext cx="908741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83682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Larg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 Diagonal Corner Rectangle 2"/>
          <p:cNvSpPr/>
          <p:nvPr userDrawn="1"/>
        </p:nvSpPr>
        <p:spPr>
          <a:xfrm>
            <a:off x="230188" y="228600"/>
            <a:ext cx="8686800" cy="5711825"/>
          </a:xfrm>
          <a:prstGeom prst="round2DiagRect">
            <a:avLst>
              <a:gd name="adj1" fmla="val 0"/>
              <a:gd name="adj2" fmla="val 3917"/>
            </a:avLst>
          </a:prstGeom>
          <a:solidFill>
            <a:srgbClr val="519137"/>
          </a:solidFill>
          <a:ln>
            <a:solidFill>
              <a:srgbClr val="5191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0" dirty="0">
              <a:solidFill>
                <a:srgbClr val="5B8F22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40664" y="1847088"/>
            <a:ext cx="7424928" cy="2340864"/>
          </a:xfrm>
        </p:spPr>
        <p:txBody>
          <a:bodyPr/>
          <a:lstStyle>
            <a:lvl1pPr>
              <a:lnSpc>
                <a:spcPts val="63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C551F8D-423C-4931-A401-710E169A275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5757663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Large_Lt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 Diagonal Corner Rectangle 2"/>
          <p:cNvSpPr/>
          <p:nvPr userDrawn="1"/>
        </p:nvSpPr>
        <p:spPr>
          <a:xfrm>
            <a:off x="230188" y="228600"/>
            <a:ext cx="8686800" cy="5711825"/>
          </a:xfrm>
          <a:prstGeom prst="round2DiagRect">
            <a:avLst>
              <a:gd name="adj1" fmla="val 0"/>
              <a:gd name="adj2" fmla="val 3917"/>
            </a:avLst>
          </a:prstGeom>
          <a:solidFill>
            <a:srgbClr val="279989"/>
          </a:solidFill>
          <a:ln>
            <a:solidFill>
              <a:srgbClr val="2799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40664" y="1847088"/>
            <a:ext cx="7424928" cy="2340864"/>
          </a:xfrm>
        </p:spPr>
        <p:txBody>
          <a:bodyPr/>
          <a:lstStyle>
            <a:lvl1pPr>
              <a:lnSpc>
                <a:spcPts val="63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64C0E2-6A2C-4724-9CAF-8C65C088E6E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4719359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Large_Yellow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 Diagonal Corner Rectangle 2"/>
          <p:cNvSpPr/>
          <p:nvPr userDrawn="1"/>
        </p:nvSpPr>
        <p:spPr>
          <a:xfrm>
            <a:off x="230188" y="228600"/>
            <a:ext cx="8686800" cy="5711825"/>
          </a:xfrm>
          <a:prstGeom prst="round2DiagRect">
            <a:avLst>
              <a:gd name="adj1" fmla="val 0"/>
              <a:gd name="adj2" fmla="val 3917"/>
            </a:avLst>
          </a:prstGeom>
          <a:solidFill>
            <a:srgbClr val="007B8A"/>
          </a:solidFill>
          <a:ln>
            <a:solidFill>
              <a:srgbClr val="007B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40664" y="1847088"/>
            <a:ext cx="7424928" cy="2340864"/>
          </a:xfrm>
        </p:spPr>
        <p:txBody>
          <a:bodyPr/>
          <a:lstStyle>
            <a:lvl1pPr>
              <a:lnSpc>
                <a:spcPts val="63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0EF13CF-3135-458E-B49D-F3246666B4C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8071420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Bulle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Diagonal Corner Rectangle 3"/>
          <p:cNvSpPr/>
          <p:nvPr userDrawn="1"/>
        </p:nvSpPr>
        <p:spPr>
          <a:xfrm>
            <a:off x="230188" y="228600"/>
            <a:ext cx="8686800" cy="5711825"/>
          </a:xfrm>
          <a:prstGeom prst="round2DiagRect">
            <a:avLst>
              <a:gd name="adj1" fmla="val 0"/>
              <a:gd name="adj2" fmla="val 3917"/>
            </a:avLst>
          </a:prstGeom>
          <a:solidFill>
            <a:srgbClr val="519137"/>
          </a:solidFill>
          <a:ln>
            <a:solidFill>
              <a:srgbClr val="5191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44538" y="1691640"/>
            <a:ext cx="7589520" cy="594360"/>
          </a:xfrm>
        </p:spPr>
        <p:txBody>
          <a:bodyPr/>
          <a:lstStyle>
            <a:lvl1pPr>
              <a:lnSpc>
                <a:spcPts val="55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 bwMode="gray">
          <a:xfrm>
            <a:off x="744538" y="2606040"/>
            <a:ext cx="8166100" cy="1691640"/>
          </a:xfrm>
        </p:spPr>
        <p:txBody>
          <a:bodyPr numCol="2">
            <a:noAutofit/>
          </a:bodyPr>
          <a:lstStyle>
            <a:lvl1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1pPr>
            <a:lvl2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2pPr>
            <a:lvl3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3pPr>
            <a:lvl4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4pPr>
            <a:lvl5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08546673-9E1C-43A5-BCBF-ED19C2B25D5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2672044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Bullet_Lt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Diagonal Corner Rectangle 3"/>
          <p:cNvSpPr/>
          <p:nvPr userDrawn="1"/>
        </p:nvSpPr>
        <p:spPr>
          <a:xfrm>
            <a:off x="230188" y="228600"/>
            <a:ext cx="8686800" cy="5711825"/>
          </a:xfrm>
          <a:prstGeom prst="round2DiagRect">
            <a:avLst>
              <a:gd name="adj1" fmla="val 0"/>
              <a:gd name="adj2" fmla="val 3917"/>
            </a:avLst>
          </a:prstGeom>
          <a:solidFill>
            <a:srgbClr val="279989"/>
          </a:solidFill>
          <a:ln>
            <a:solidFill>
              <a:srgbClr val="2799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44538" y="1691640"/>
            <a:ext cx="7589520" cy="594360"/>
          </a:xfrm>
        </p:spPr>
        <p:txBody>
          <a:bodyPr/>
          <a:lstStyle>
            <a:lvl1pPr>
              <a:lnSpc>
                <a:spcPts val="55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 bwMode="gray">
          <a:xfrm>
            <a:off x="744538" y="2606040"/>
            <a:ext cx="8166100" cy="1691640"/>
          </a:xfrm>
        </p:spPr>
        <p:txBody>
          <a:bodyPr numCol="2">
            <a:noAutofit/>
          </a:bodyPr>
          <a:lstStyle>
            <a:lvl1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1pPr>
            <a:lvl2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2pPr>
            <a:lvl3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3pPr>
            <a:lvl4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4pPr>
            <a:lvl5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5D40AFFA-413B-4CF8-8BBC-23A4D04FB24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5944325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Bullet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Diagonal Corner Rectangle 3"/>
          <p:cNvSpPr/>
          <p:nvPr userDrawn="1"/>
        </p:nvSpPr>
        <p:spPr>
          <a:xfrm>
            <a:off x="230188" y="228600"/>
            <a:ext cx="8686800" cy="5711825"/>
          </a:xfrm>
          <a:prstGeom prst="round2DiagRect">
            <a:avLst>
              <a:gd name="adj1" fmla="val 0"/>
              <a:gd name="adj2" fmla="val 3917"/>
            </a:avLst>
          </a:prstGeom>
          <a:solidFill>
            <a:srgbClr val="007B8A"/>
          </a:solidFill>
          <a:ln>
            <a:solidFill>
              <a:srgbClr val="007B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44538" y="1691640"/>
            <a:ext cx="7589520" cy="594360"/>
          </a:xfrm>
        </p:spPr>
        <p:txBody>
          <a:bodyPr/>
          <a:lstStyle>
            <a:lvl1pPr>
              <a:lnSpc>
                <a:spcPts val="55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 bwMode="gray">
          <a:xfrm>
            <a:off x="744538" y="2606040"/>
            <a:ext cx="8166100" cy="1691640"/>
          </a:xfrm>
        </p:spPr>
        <p:txBody>
          <a:bodyPr numCol="2">
            <a:noAutofit/>
          </a:bodyPr>
          <a:lstStyle>
            <a:lvl1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1pPr>
            <a:lvl2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2pPr>
            <a:lvl3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3pPr>
            <a:lvl4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4pPr>
            <a:lvl5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4742C612-45A1-478E-86EA-56236044402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7834239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  <a:solidFill>
            <a:srgbClr val="959595"/>
          </a:solidFill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 bwMode="gray">
          <a:xfrm>
            <a:off x="740664" y="1005840"/>
            <a:ext cx="7772400" cy="1993392"/>
          </a:xfrm>
        </p:spPr>
        <p:txBody>
          <a:bodyPr/>
          <a:lstStyle>
            <a:lvl1pPr>
              <a:lnSpc>
                <a:spcPts val="50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585369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MosaicBulle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Diagonal Corner Rectangle 3"/>
          <p:cNvSpPr/>
          <p:nvPr userDrawn="1"/>
        </p:nvSpPr>
        <p:spPr>
          <a:xfrm>
            <a:off x="228600" y="228600"/>
            <a:ext cx="6950075" cy="2487613"/>
          </a:xfrm>
          <a:prstGeom prst="round2DiagRect">
            <a:avLst>
              <a:gd name="adj1" fmla="val 8670"/>
              <a:gd name="adj2" fmla="val 0"/>
            </a:avLst>
          </a:prstGeom>
          <a:solidFill>
            <a:srgbClr val="519137"/>
          </a:solidFill>
          <a:ln>
            <a:solidFill>
              <a:srgbClr val="5191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" name="Round Diagonal Corner Rectangle 4"/>
          <p:cNvSpPr/>
          <p:nvPr userDrawn="1"/>
        </p:nvSpPr>
        <p:spPr>
          <a:xfrm>
            <a:off x="7296150" y="1116013"/>
            <a:ext cx="877888" cy="493712"/>
          </a:xfrm>
          <a:prstGeom prst="round2DiagRect">
            <a:avLst>
              <a:gd name="adj1" fmla="val 38584"/>
              <a:gd name="adj2" fmla="val 0"/>
            </a:avLst>
          </a:prstGeom>
          <a:solidFill>
            <a:srgbClr val="007B8A"/>
          </a:solidFill>
          <a:ln>
            <a:solidFill>
              <a:srgbClr val="007B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Round Diagonal Corner Rectangle 5"/>
          <p:cNvSpPr/>
          <p:nvPr userDrawn="1"/>
        </p:nvSpPr>
        <p:spPr>
          <a:xfrm>
            <a:off x="7296150" y="1719263"/>
            <a:ext cx="1628775" cy="996950"/>
          </a:xfrm>
          <a:prstGeom prst="round2DiagRect">
            <a:avLst>
              <a:gd name="adj1" fmla="val 612"/>
              <a:gd name="adj2" fmla="val 21637"/>
            </a:avLst>
          </a:prstGeom>
          <a:solidFill>
            <a:srgbClr val="279989"/>
          </a:solidFill>
          <a:ln>
            <a:solidFill>
              <a:srgbClr val="2799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40664" y="694944"/>
            <a:ext cx="5029200" cy="1371600"/>
          </a:xfrm>
        </p:spPr>
        <p:txBody>
          <a:bodyPr/>
          <a:lstStyle>
            <a:lvl1pPr>
              <a:lnSpc>
                <a:spcPts val="55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744538" y="3026664"/>
            <a:ext cx="7567612" cy="3142404"/>
          </a:xfrm>
        </p:spPr>
        <p:txBody>
          <a:bodyPr>
            <a:noAutofit/>
          </a:bodyPr>
          <a:lstStyle>
            <a:lvl1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tx1"/>
                </a:solidFill>
              </a:defRPr>
            </a:lvl1pPr>
            <a:lvl2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tx1"/>
                </a:solidFill>
              </a:defRPr>
            </a:lvl2pPr>
            <a:lvl3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tx1"/>
                </a:solidFill>
              </a:defRPr>
            </a:lvl3pPr>
            <a:lvl4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tx1"/>
                </a:solidFill>
              </a:defRPr>
            </a:lvl4pPr>
            <a:lvl5pPr marL="173736" indent="-173736">
              <a:lnSpc>
                <a:spcPts val="3200"/>
              </a:lnSpc>
              <a:spcBef>
                <a:spcPts val="0"/>
              </a:spcBef>
              <a:buFont typeface="Arial" pitchFamily="34" charset="0"/>
              <a:buChar char="•"/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461E5233-5D24-4C88-ABFA-E71A2C35EB9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3846234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Bulle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44538" y="502920"/>
            <a:ext cx="7567612" cy="1154927"/>
          </a:xfrm>
        </p:spPr>
        <p:txBody>
          <a:bodyPr/>
          <a:lstStyle>
            <a:lvl1pPr>
              <a:lnSpc>
                <a:spcPts val="4000"/>
              </a:lnSpc>
              <a:defRPr sz="3600">
                <a:solidFill>
                  <a:srgbClr val="51913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40662" y="1945300"/>
            <a:ext cx="7571488" cy="397952"/>
          </a:xfrm>
        </p:spPr>
        <p:txBody>
          <a:bodyPr/>
          <a:lstStyle>
            <a:lvl1pPr marL="0" indent="0">
              <a:lnSpc>
                <a:spcPts val="2100"/>
              </a:lnSpc>
              <a:spcBef>
                <a:spcPts val="0"/>
              </a:spcBef>
              <a:buFontTx/>
              <a:buNone/>
              <a:defRPr b="1" cap="all" baseline="0">
                <a:solidFill>
                  <a:srgbClr val="279989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44538" y="2347635"/>
            <a:ext cx="7567612" cy="3592789"/>
          </a:xfrm>
        </p:spPr>
        <p:txBody>
          <a:bodyPr>
            <a:noAutofit/>
          </a:bodyPr>
          <a:lstStyle>
            <a:lvl1pPr marL="173736" indent="-173736">
              <a:lnSpc>
                <a:spcPts val="19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5613" indent="-169863">
              <a:lnSpc>
                <a:spcPts val="19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  <a:defRPr sz="1400" b="0">
                <a:solidFill>
                  <a:schemeClr val="tx1"/>
                </a:solidFill>
              </a:defRPr>
            </a:lvl2pPr>
            <a:lvl3pPr marL="736600" indent="-173038">
              <a:lnSpc>
                <a:spcPts val="19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  <a:defRPr sz="1400" b="0">
                <a:solidFill>
                  <a:schemeClr val="tx1"/>
                </a:solidFill>
              </a:defRPr>
            </a:lvl3pPr>
            <a:lvl4pPr marL="1022350" indent="-173038">
              <a:lnSpc>
                <a:spcPts val="19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  <a:defRPr sz="1400" b="0">
                <a:solidFill>
                  <a:schemeClr val="tx1"/>
                </a:solidFill>
              </a:defRPr>
            </a:lvl4pPr>
            <a:lvl5pPr marL="1320800" indent="-173038">
              <a:lnSpc>
                <a:spcPts val="19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212D3AE2-B1AB-49BC-A062-772C9C26902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499582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Break_Lt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 Diagonal Corner Rectangle 2"/>
          <p:cNvSpPr/>
          <p:nvPr userDrawn="1"/>
        </p:nvSpPr>
        <p:spPr>
          <a:xfrm>
            <a:off x="230188" y="228601"/>
            <a:ext cx="8686800" cy="571182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40664" y="1847088"/>
            <a:ext cx="7424928" cy="2340864"/>
          </a:xfrm>
        </p:spPr>
        <p:txBody>
          <a:bodyPr/>
          <a:lstStyle>
            <a:lvl1pPr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ection tit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2" y="649800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8000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97999B"/>
                </a:solidFill>
                <a:cs typeface="Arial" charset="0"/>
              </a:rPr>
              <a:t>Footer</a:t>
            </a:r>
            <a:endParaRPr lang="en-US" dirty="0">
              <a:solidFill>
                <a:srgbClr val="FF0000"/>
              </a:solidFill>
              <a:cs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20A11C5-C312-4371-9E77-F0B3FBF22C61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987922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OneColum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44539" y="502920"/>
            <a:ext cx="7567612" cy="859028"/>
          </a:xfrm>
        </p:spPr>
        <p:txBody>
          <a:bodyPr/>
          <a:lstStyle>
            <a:lvl1pPr>
              <a:lnSpc>
                <a:spcPts val="4000"/>
              </a:lnSpc>
              <a:defRPr sz="3600">
                <a:solidFill>
                  <a:srgbClr val="51913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40661" y="1368513"/>
            <a:ext cx="7571489" cy="685800"/>
          </a:xfrm>
        </p:spPr>
        <p:txBody>
          <a:bodyPr>
            <a:noAutofit/>
          </a:bodyPr>
          <a:lstStyle>
            <a:lvl1pPr marL="0" indent="0">
              <a:lnSpc>
                <a:spcPts val="2900"/>
              </a:lnSpc>
              <a:spcBef>
                <a:spcPts val="0"/>
              </a:spcBef>
              <a:buFontTx/>
              <a:buNone/>
              <a:defRPr sz="2400" b="1">
                <a:solidFill>
                  <a:srgbClr val="007B8A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44538" y="2410930"/>
            <a:ext cx="7567612" cy="1425258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900"/>
              </a:spcAft>
              <a:buFontTx/>
              <a:buNone/>
              <a:defRPr sz="1400" b="1" cap="all" baseline="0">
                <a:solidFill>
                  <a:srgbClr val="279989"/>
                </a:solidFill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44539" y="3937977"/>
            <a:ext cx="7567611" cy="1426464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900"/>
              </a:spcAft>
              <a:buFontTx/>
              <a:buNone/>
              <a:tabLst/>
              <a:defRPr sz="1400" b="1" cap="all" baseline="0">
                <a:solidFill>
                  <a:srgbClr val="279989"/>
                </a:solidFill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tabLst/>
              <a:defRPr sz="1400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tabLst/>
              <a:defRPr sz="1400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tabLst/>
              <a:defRPr sz="1400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tabLst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A28EA2A0-B37E-44CF-9FD8-F4EBB511F18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6550833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TwoColum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44538" y="502920"/>
            <a:ext cx="7567612" cy="859028"/>
          </a:xfrm>
        </p:spPr>
        <p:txBody>
          <a:bodyPr/>
          <a:lstStyle>
            <a:lvl1pPr>
              <a:lnSpc>
                <a:spcPts val="4000"/>
              </a:lnSpc>
              <a:defRPr sz="3600">
                <a:solidFill>
                  <a:srgbClr val="51913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40660" y="1368513"/>
            <a:ext cx="7571489" cy="685800"/>
          </a:xfrm>
        </p:spPr>
        <p:txBody>
          <a:bodyPr>
            <a:noAutofit/>
          </a:bodyPr>
          <a:lstStyle>
            <a:lvl1pPr marL="0" indent="0">
              <a:lnSpc>
                <a:spcPts val="2900"/>
              </a:lnSpc>
              <a:spcBef>
                <a:spcPts val="0"/>
              </a:spcBef>
              <a:buFontTx/>
              <a:buNone/>
              <a:defRPr sz="2400" b="1">
                <a:solidFill>
                  <a:srgbClr val="007B8A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44538" y="2410929"/>
            <a:ext cx="3639312" cy="3529495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900"/>
              </a:spcAft>
              <a:buFontTx/>
              <a:buNone/>
              <a:tabLst/>
              <a:defRPr sz="1400" b="1" cap="all" baseline="0">
                <a:solidFill>
                  <a:srgbClr val="279989"/>
                </a:solidFill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tabLst/>
              <a:defRPr sz="1400" b="0">
                <a:solidFill>
                  <a:schemeClr val="tx1"/>
                </a:solidFill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tabLst/>
              <a:defRPr sz="1400" b="0">
                <a:solidFill>
                  <a:schemeClr val="tx1"/>
                </a:solidFill>
              </a:defRPr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tabLst/>
              <a:defRPr sz="1400" b="0">
                <a:solidFill>
                  <a:schemeClr val="tx1"/>
                </a:solidFill>
              </a:defRPr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tabLst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4671884" y="2409722"/>
            <a:ext cx="3640265" cy="3530703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900"/>
              </a:spcAft>
              <a:buFontTx/>
              <a:buNone/>
              <a:defRPr sz="1400" b="1" cap="all" baseline="0">
                <a:solidFill>
                  <a:srgbClr val="279989"/>
                </a:solidFill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/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/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/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42A14B91-58E4-4FCE-992F-0797E4A9804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2634101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TwoColumnPhoto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44539" y="502920"/>
            <a:ext cx="7567612" cy="859028"/>
          </a:xfrm>
        </p:spPr>
        <p:txBody>
          <a:bodyPr/>
          <a:lstStyle>
            <a:lvl1pPr>
              <a:lnSpc>
                <a:spcPts val="4000"/>
              </a:lnSpc>
              <a:defRPr sz="3600">
                <a:solidFill>
                  <a:srgbClr val="51913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40661" y="1368513"/>
            <a:ext cx="7571489" cy="685800"/>
          </a:xfrm>
        </p:spPr>
        <p:txBody>
          <a:bodyPr>
            <a:noAutofit/>
          </a:bodyPr>
          <a:lstStyle>
            <a:lvl1pPr marL="0" indent="0">
              <a:lnSpc>
                <a:spcPts val="2900"/>
              </a:lnSpc>
              <a:spcBef>
                <a:spcPts val="0"/>
              </a:spcBef>
              <a:buFontTx/>
              <a:buNone/>
              <a:defRPr sz="2400" b="1">
                <a:solidFill>
                  <a:srgbClr val="007B8A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44538" y="2419611"/>
            <a:ext cx="3639312" cy="3520814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1">
                <a:solidFill>
                  <a:srgbClr val="279989"/>
                </a:solidFill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4671886" y="2494883"/>
            <a:ext cx="3640264" cy="3445541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2F234C8F-DB30-4D9E-870F-D8308CC631E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1100026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ThreeColumn_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30188" y="3946728"/>
            <a:ext cx="2743200" cy="1993697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1" baseline="0">
                <a:solidFill>
                  <a:srgbClr val="007B8A"/>
                </a:solidFill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 baseline="0">
                <a:solidFill>
                  <a:schemeClr val="tx1"/>
                </a:solidFill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 baseline="0">
                <a:solidFill>
                  <a:schemeClr val="tx1"/>
                </a:solidFill>
              </a:defRPr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 baseline="0">
                <a:solidFill>
                  <a:schemeClr val="tx1"/>
                </a:solidFill>
              </a:defRPr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228600" y="1200354"/>
            <a:ext cx="2898648" cy="258775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6002754" y="1200354"/>
            <a:ext cx="2898648" cy="258775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3118196" y="1200354"/>
            <a:ext cx="2898648" cy="258775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108960" y="3946728"/>
            <a:ext cx="2743200" cy="1993697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1" baseline="0">
                <a:solidFill>
                  <a:srgbClr val="007B8A"/>
                </a:solidFill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 baseline="0">
                <a:solidFill>
                  <a:schemeClr val="tx1"/>
                </a:solidFill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 baseline="0">
                <a:solidFill>
                  <a:schemeClr val="tx1"/>
                </a:solidFill>
              </a:defRPr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 baseline="0">
                <a:solidFill>
                  <a:schemeClr val="tx1"/>
                </a:solidFill>
              </a:defRPr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003725" y="3946728"/>
            <a:ext cx="2743200" cy="1993697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1" baseline="0">
                <a:solidFill>
                  <a:srgbClr val="007B8A"/>
                </a:solidFill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 baseline="0">
                <a:solidFill>
                  <a:schemeClr val="tx1"/>
                </a:solidFill>
              </a:defRPr>
            </a:lvl2pPr>
            <a:lvl3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 baseline="0">
                <a:solidFill>
                  <a:schemeClr val="tx1"/>
                </a:solidFill>
              </a:defRPr>
            </a:lvl3pPr>
            <a:lvl4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 baseline="0">
                <a:solidFill>
                  <a:schemeClr val="tx1"/>
                </a:solidFill>
              </a:defRPr>
            </a:lvl4pPr>
            <a:lvl5pPr marL="0" indent="0">
              <a:lnSpc>
                <a:spcPts val="1800"/>
              </a:lnSpc>
              <a:spcBef>
                <a:spcPts val="0"/>
              </a:spcBef>
              <a:buFontTx/>
              <a:buNone/>
              <a:defRPr sz="1400" b="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690C2EAA-1906-496D-9F75-0B354642E2C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1268818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44539" y="502920"/>
            <a:ext cx="7567612" cy="1154927"/>
          </a:xfrm>
        </p:spPr>
        <p:txBody>
          <a:bodyPr/>
          <a:lstStyle>
            <a:lvl1pPr>
              <a:lnSpc>
                <a:spcPts val="4000"/>
              </a:lnSpc>
              <a:defRPr sz="3600">
                <a:solidFill>
                  <a:srgbClr val="51913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40663" y="1839320"/>
            <a:ext cx="7571488" cy="397952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buFontTx/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08032316-F04B-4B8B-8EAC-41B1E0B125E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4481618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44538" y="502920"/>
            <a:ext cx="7658101" cy="1154927"/>
          </a:xfrm>
        </p:spPr>
        <p:txBody>
          <a:bodyPr/>
          <a:lstStyle>
            <a:lvl1pPr>
              <a:lnSpc>
                <a:spcPts val="4000"/>
              </a:lnSpc>
              <a:defRPr sz="3600">
                <a:solidFill>
                  <a:srgbClr val="51913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841802A-0726-4B7A-93F8-7DC439177C7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7296634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w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9BCBEF6-2EB4-4274-91FD-7EAB1359F2B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1898514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FourColum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 Diagonal Corner Rectangle 14"/>
          <p:cNvSpPr/>
          <p:nvPr userDrawn="1"/>
        </p:nvSpPr>
        <p:spPr>
          <a:xfrm>
            <a:off x="2459038" y="2862263"/>
            <a:ext cx="2057400" cy="2862262"/>
          </a:xfrm>
          <a:prstGeom prst="round2DiagRect">
            <a:avLst>
              <a:gd name="adj1" fmla="val 10971"/>
              <a:gd name="adj2" fmla="val 0"/>
            </a:avLst>
          </a:prstGeom>
          <a:solidFill>
            <a:srgbClr val="519137"/>
          </a:solidFill>
          <a:ln>
            <a:solidFill>
              <a:srgbClr val="5191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7" name="Round Diagonal Corner Rectangle 16"/>
          <p:cNvSpPr/>
          <p:nvPr userDrawn="1"/>
        </p:nvSpPr>
        <p:spPr>
          <a:xfrm>
            <a:off x="4627563" y="914400"/>
            <a:ext cx="2057400" cy="2862263"/>
          </a:xfrm>
          <a:prstGeom prst="round2DiagRect">
            <a:avLst>
              <a:gd name="adj1" fmla="val 10362"/>
              <a:gd name="adj2" fmla="val 0"/>
            </a:avLst>
          </a:prstGeom>
          <a:solidFill>
            <a:srgbClr val="279989"/>
          </a:solidFill>
          <a:ln>
            <a:solidFill>
              <a:srgbClr val="2799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7A87"/>
              </a:solidFill>
            </a:endParaRPr>
          </a:p>
        </p:txBody>
      </p:sp>
      <p:sp>
        <p:nvSpPr>
          <p:cNvPr id="18" name="Round Diagonal Corner Rectangle 17"/>
          <p:cNvSpPr/>
          <p:nvPr userDrawn="1"/>
        </p:nvSpPr>
        <p:spPr>
          <a:xfrm>
            <a:off x="6802438" y="2862263"/>
            <a:ext cx="2112962" cy="2862262"/>
          </a:xfrm>
          <a:prstGeom prst="round2DiagRect">
            <a:avLst>
              <a:gd name="adj1" fmla="val 0"/>
              <a:gd name="adj2" fmla="val 10818"/>
            </a:avLst>
          </a:prstGeom>
          <a:solidFill>
            <a:srgbClr val="519137"/>
          </a:solidFill>
          <a:ln>
            <a:solidFill>
              <a:srgbClr val="5191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9" name="Round Diagonal Corner Rectangle 18"/>
          <p:cNvSpPr/>
          <p:nvPr userDrawn="1"/>
        </p:nvSpPr>
        <p:spPr>
          <a:xfrm>
            <a:off x="230188" y="914400"/>
            <a:ext cx="2112962" cy="2862263"/>
          </a:xfrm>
          <a:prstGeom prst="round2DiagRect">
            <a:avLst>
              <a:gd name="adj1" fmla="val 0"/>
              <a:gd name="adj2" fmla="val 10818"/>
            </a:avLst>
          </a:prstGeom>
          <a:solidFill>
            <a:srgbClr val="279989"/>
          </a:solidFill>
          <a:ln>
            <a:solidFill>
              <a:srgbClr val="2799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7A87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803136" y="914400"/>
            <a:ext cx="2112264" cy="1828800"/>
          </a:xfrm>
          <a:prstGeom prst="round2DiagRect">
            <a:avLst>
              <a:gd name="adj1" fmla="val 10996"/>
              <a:gd name="adj2" fmla="val 0"/>
            </a:avLst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3"/>
          </p:nvPr>
        </p:nvSpPr>
        <p:spPr>
          <a:xfrm>
            <a:off x="2459736" y="914400"/>
            <a:ext cx="2057400" cy="1828800"/>
          </a:xfrm>
          <a:prstGeom prst="round2DiagRect">
            <a:avLst>
              <a:gd name="adj1" fmla="val 0"/>
              <a:gd name="adj2" fmla="val 14555"/>
            </a:avLst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2"/>
          </p:nvPr>
        </p:nvSpPr>
        <p:spPr>
          <a:xfrm>
            <a:off x="4626864" y="3886200"/>
            <a:ext cx="2057400" cy="1828800"/>
          </a:xfrm>
          <a:prstGeom prst="round2DiagRect">
            <a:avLst>
              <a:gd name="adj1" fmla="val 0"/>
              <a:gd name="adj2" fmla="val 12589"/>
            </a:avLst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228600" y="3886200"/>
            <a:ext cx="2112264" cy="1828800"/>
          </a:xfrm>
          <a:prstGeom prst="round2DiagRect">
            <a:avLst>
              <a:gd name="adj1" fmla="val 12993"/>
              <a:gd name="adj2" fmla="val 0"/>
            </a:avLst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5"/>
          </p:nvPr>
        </p:nvSpPr>
        <p:spPr bwMode="gray">
          <a:xfrm>
            <a:off x="4855464" y="1010984"/>
            <a:ext cx="1600200" cy="1783080"/>
          </a:xfrm>
        </p:spPr>
        <p:txBody>
          <a:bodyPr tIns="0" bIns="0" anchor="b">
            <a:noAutofit/>
          </a:bodyPr>
          <a:lstStyle>
            <a:lvl1pPr marL="0" indent="0">
              <a:lnSpc>
                <a:spcPts val="2900"/>
              </a:lnSpc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6"/>
          </p:nvPr>
        </p:nvSpPr>
        <p:spPr bwMode="gray">
          <a:xfrm>
            <a:off x="4855464" y="2930461"/>
            <a:ext cx="1600200" cy="804672"/>
          </a:xfrm>
        </p:spPr>
        <p:txBody>
          <a:bodyPr tIns="0" bIns="0">
            <a:norm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23"/>
          </p:nvPr>
        </p:nvSpPr>
        <p:spPr bwMode="gray">
          <a:xfrm>
            <a:off x="7031736" y="2952519"/>
            <a:ext cx="1600200" cy="1747381"/>
          </a:xfrm>
        </p:spPr>
        <p:txBody>
          <a:bodyPr tIns="0" bIns="0" anchor="b">
            <a:noAutofit/>
          </a:bodyPr>
          <a:lstStyle>
            <a:lvl1pPr marL="0" indent="0">
              <a:lnSpc>
                <a:spcPts val="5900"/>
              </a:lnSpc>
              <a:spcBef>
                <a:spcPts val="0"/>
              </a:spcBef>
              <a:buNone/>
              <a:defRPr sz="7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24"/>
          </p:nvPr>
        </p:nvSpPr>
        <p:spPr bwMode="gray">
          <a:xfrm>
            <a:off x="7031736" y="4814125"/>
            <a:ext cx="1600200" cy="801415"/>
          </a:xfrm>
        </p:spPr>
        <p:txBody>
          <a:bodyPr tIns="0" bIns="0">
            <a:norm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25"/>
          </p:nvPr>
        </p:nvSpPr>
        <p:spPr bwMode="gray">
          <a:xfrm>
            <a:off x="457200" y="1010984"/>
            <a:ext cx="1600200" cy="1783080"/>
          </a:xfrm>
        </p:spPr>
        <p:txBody>
          <a:bodyPr tIns="0" bIns="0" anchor="b"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26"/>
          </p:nvPr>
        </p:nvSpPr>
        <p:spPr bwMode="gray">
          <a:xfrm>
            <a:off x="457200" y="2930461"/>
            <a:ext cx="1600200" cy="801415"/>
          </a:xfrm>
        </p:spPr>
        <p:txBody>
          <a:bodyPr tIns="0" bIns="0">
            <a:norm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3"/>
          <p:cNvSpPr>
            <a:spLocks noGrp="1"/>
          </p:cNvSpPr>
          <p:nvPr>
            <p:ph type="body" sz="quarter" idx="27"/>
          </p:nvPr>
        </p:nvSpPr>
        <p:spPr bwMode="gray">
          <a:xfrm>
            <a:off x="2679192" y="2952519"/>
            <a:ext cx="1600200" cy="1747381"/>
          </a:xfrm>
        </p:spPr>
        <p:txBody>
          <a:bodyPr tIns="0" bIns="0" anchor="b"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buNone/>
              <a:defRPr sz="4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8"/>
          </p:nvPr>
        </p:nvSpPr>
        <p:spPr bwMode="gray">
          <a:xfrm>
            <a:off x="2679192" y="4814125"/>
            <a:ext cx="1757580" cy="801415"/>
          </a:xfrm>
        </p:spPr>
        <p:txBody>
          <a:bodyPr tIns="0" bIns="0">
            <a:noAutofit/>
          </a:bodyPr>
          <a:lstStyle>
            <a:lvl1pPr marL="0" indent="0">
              <a:lnSpc>
                <a:spcPts val="1700"/>
              </a:lnSpc>
              <a:spcBef>
                <a:spcPts val="0"/>
              </a:spcBef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29"/>
          </p:nvPr>
        </p:nvSpPr>
        <p:spPr>
          <a:xfrm>
            <a:off x="239713" y="6278563"/>
            <a:ext cx="377825" cy="365125"/>
          </a:xfrm>
        </p:spPr>
        <p:txBody>
          <a:bodyPr/>
          <a:lstStyle>
            <a:lvl1pPr>
              <a:defRPr/>
            </a:lvl1pPr>
          </a:lstStyle>
          <a:p>
            <a:fld id="{C03B8BF8-9530-4296-AF32-FF5478AAE7F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4271683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ThreeColum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 Diagonal Corner Rectangle 10"/>
          <p:cNvSpPr/>
          <p:nvPr userDrawn="1"/>
        </p:nvSpPr>
        <p:spPr>
          <a:xfrm>
            <a:off x="3173413" y="3117850"/>
            <a:ext cx="2797175" cy="2597150"/>
          </a:xfrm>
          <a:prstGeom prst="round2DiagRect">
            <a:avLst>
              <a:gd name="adj1" fmla="val 9144"/>
              <a:gd name="adj2" fmla="val 0"/>
            </a:avLst>
          </a:prstGeom>
          <a:solidFill>
            <a:srgbClr val="279989"/>
          </a:solidFill>
          <a:ln>
            <a:solidFill>
              <a:srgbClr val="2799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" name="Round Diagonal Corner Rectangle 11"/>
          <p:cNvSpPr/>
          <p:nvPr userDrawn="1"/>
        </p:nvSpPr>
        <p:spPr>
          <a:xfrm>
            <a:off x="6116638" y="4068763"/>
            <a:ext cx="2798762" cy="1646237"/>
          </a:xfrm>
          <a:prstGeom prst="round2DiagRect">
            <a:avLst>
              <a:gd name="adj1" fmla="val 0"/>
              <a:gd name="adj2" fmla="val 14623"/>
            </a:avLst>
          </a:prstGeom>
          <a:solidFill>
            <a:srgbClr val="007B8A"/>
          </a:solidFill>
          <a:ln>
            <a:solidFill>
              <a:srgbClr val="007B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3" name="Round Diagonal Corner Rectangle 12"/>
          <p:cNvSpPr/>
          <p:nvPr userDrawn="1"/>
        </p:nvSpPr>
        <p:spPr>
          <a:xfrm>
            <a:off x="230188" y="908050"/>
            <a:ext cx="2798762" cy="2816225"/>
          </a:xfrm>
          <a:prstGeom prst="round2DiagRect">
            <a:avLst>
              <a:gd name="adj1" fmla="val 0"/>
              <a:gd name="adj2" fmla="val 7684"/>
            </a:avLst>
          </a:prstGeom>
          <a:solidFill>
            <a:srgbClr val="519137"/>
          </a:solidFill>
          <a:ln>
            <a:solidFill>
              <a:srgbClr val="5191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117336" y="914400"/>
            <a:ext cx="2798064" cy="2999232"/>
          </a:xfrm>
          <a:prstGeom prst="round2DiagRect">
            <a:avLst>
              <a:gd name="adj1" fmla="val 7862"/>
              <a:gd name="adj2" fmla="val 0"/>
            </a:avLst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3"/>
          </p:nvPr>
        </p:nvSpPr>
        <p:spPr>
          <a:xfrm>
            <a:off x="3172968" y="914400"/>
            <a:ext cx="2798064" cy="2048256"/>
          </a:xfrm>
          <a:prstGeom prst="round2DiagRect">
            <a:avLst>
              <a:gd name="adj1" fmla="val 0"/>
              <a:gd name="adj2" fmla="val 10067"/>
            </a:avLst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228600" y="3886200"/>
            <a:ext cx="2798064" cy="1828800"/>
          </a:xfrm>
          <a:prstGeom prst="round2DiagRect">
            <a:avLst>
              <a:gd name="adj1" fmla="val 14020"/>
              <a:gd name="adj2" fmla="val 0"/>
            </a:avLst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23"/>
          </p:nvPr>
        </p:nvSpPr>
        <p:spPr bwMode="gray">
          <a:xfrm>
            <a:off x="6355080" y="4161281"/>
            <a:ext cx="2286000" cy="563671"/>
          </a:xfrm>
        </p:spPr>
        <p:txBody>
          <a:bodyPr tIns="0" bIns="0" anchor="b">
            <a:noAutofit/>
          </a:bodyPr>
          <a:lstStyle>
            <a:lvl1pPr marL="0" indent="0">
              <a:lnSpc>
                <a:spcPts val="2900"/>
              </a:lnSpc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24"/>
          </p:nvPr>
        </p:nvSpPr>
        <p:spPr bwMode="gray">
          <a:xfrm>
            <a:off x="6355080" y="4846967"/>
            <a:ext cx="2286000" cy="801415"/>
          </a:xfrm>
        </p:spPr>
        <p:txBody>
          <a:bodyPr tIns="0" bIns="0">
            <a:norm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25"/>
          </p:nvPr>
        </p:nvSpPr>
        <p:spPr bwMode="gray">
          <a:xfrm>
            <a:off x="457200" y="1010984"/>
            <a:ext cx="2286000" cy="1283919"/>
          </a:xfrm>
        </p:spPr>
        <p:txBody>
          <a:bodyPr tIns="0" bIns="0" anchor="b"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26"/>
          </p:nvPr>
        </p:nvSpPr>
        <p:spPr bwMode="gray">
          <a:xfrm>
            <a:off x="457200" y="2430246"/>
            <a:ext cx="2286000" cy="1069723"/>
          </a:xfrm>
        </p:spPr>
        <p:txBody>
          <a:bodyPr tIns="0" bIns="0">
            <a:norm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3"/>
          <p:cNvSpPr>
            <a:spLocks noGrp="1"/>
          </p:cNvSpPr>
          <p:nvPr>
            <p:ph type="body" sz="quarter" idx="27"/>
          </p:nvPr>
        </p:nvSpPr>
        <p:spPr bwMode="gray">
          <a:xfrm>
            <a:off x="3410712" y="3221829"/>
            <a:ext cx="2286000" cy="870560"/>
          </a:xfrm>
        </p:spPr>
        <p:txBody>
          <a:bodyPr tIns="0" bIns="0" anchor="b"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buNone/>
              <a:defRPr sz="4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8"/>
          </p:nvPr>
        </p:nvSpPr>
        <p:spPr bwMode="gray">
          <a:xfrm>
            <a:off x="3410712" y="4206887"/>
            <a:ext cx="2286000" cy="1234440"/>
          </a:xfrm>
        </p:spPr>
        <p:txBody>
          <a:bodyPr tIns="0" bIns="0">
            <a:norm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/>
            </a:lvl1pPr>
          </a:lstStyle>
          <a:p>
            <a:fld id="{250D8463-6422-4340-AFD0-1FBA4F46515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5340183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TwoColum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Diagonal Corner Rectangle 7"/>
          <p:cNvSpPr/>
          <p:nvPr userDrawn="1"/>
        </p:nvSpPr>
        <p:spPr>
          <a:xfrm>
            <a:off x="4645025" y="4068763"/>
            <a:ext cx="4270375" cy="2057400"/>
          </a:xfrm>
          <a:prstGeom prst="round2DiagRect">
            <a:avLst>
              <a:gd name="adj1" fmla="val 10959"/>
              <a:gd name="adj2" fmla="val 0"/>
            </a:avLst>
          </a:prstGeom>
          <a:solidFill>
            <a:srgbClr val="279989"/>
          </a:solidFill>
          <a:ln>
            <a:solidFill>
              <a:srgbClr val="2799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Diagonal Corner Rectangle 8"/>
          <p:cNvSpPr/>
          <p:nvPr userDrawn="1"/>
        </p:nvSpPr>
        <p:spPr>
          <a:xfrm>
            <a:off x="230188" y="914400"/>
            <a:ext cx="4270375" cy="1765300"/>
          </a:xfrm>
          <a:prstGeom prst="round2DiagRect">
            <a:avLst>
              <a:gd name="adj1" fmla="val 0"/>
              <a:gd name="adj2" fmla="val 11943"/>
            </a:avLst>
          </a:prstGeom>
          <a:solidFill>
            <a:srgbClr val="519137"/>
          </a:solidFill>
          <a:ln>
            <a:solidFill>
              <a:srgbClr val="5191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4645152" y="914400"/>
            <a:ext cx="4270248" cy="3017520"/>
          </a:xfrm>
          <a:prstGeom prst="round2DiagRect">
            <a:avLst>
              <a:gd name="adj1" fmla="val 0"/>
              <a:gd name="adj2" fmla="val 7057"/>
            </a:avLst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228600" y="2862072"/>
            <a:ext cx="4270248" cy="3264408"/>
          </a:xfrm>
          <a:prstGeom prst="round2DiagRect">
            <a:avLst>
              <a:gd name="adj1" fmla="val 7497"/>
              <a:gd name="adj2" fmla="val 0"/>
            </a:avLst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23"/>
          </p:nvPr>
        </p:nvSpPr>
        <p:spPr bwMode="gray">
          <a:xfrm>
            <a:off x="4882896" y="4161281"/>
            <a:ext cx="3840480" cy="1127342"/>
          </a:xfrm>
        </p:spPr>
        <p:txBody>
          <a:bodyPr tIns="0" bIns="0" anchor="b"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buNone/>
              <a:defRPr sz="4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5"/>
          <p:cNvSpPr>
            <a:spLocks noGrp="1"/>
          </p:cNvSpPr>
          <p:nvPr>
            <p:ph type="body" sz="quarter" idx="24"/>
          </p:nvPr>
        </p:nvSpPr>
        <p:spPr bwMode="gray">
          <a:xfrm>
            <a:off x="4882895" y="5445061"/>
            <a:ext cx="3840480" cy="463169"/>
          </a:xfrm>
        </p:spPr>
        <p:txBody>
          <a:bodyPr tIns="0" bIns="0">
            <a:norm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25"/>
          </p:nvPr>
        </p:nvSpPr>
        <p:spPr>
          <a:xfrm>
            <a:off x="457200" y="1010984"/>
            <a:ext cx="3840480" cy="688933"/>
          </a:xfrm>
        </p:spPr>
        <p:txBody>
          <a:bodyPr tIns="0" bIns="0" anchor="b"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25"/>
          <p:cNvSpPr>
            <a:spLocks noGrp="1"/>
          </p:cNvSpPr>
          <p:nvPr>
            <p:ph type="body" sz="quarter" idx="26"/>
          </p:nvPr>
        </p:nvSpPr>
        <p:spPr>
          <a:xfrm>
            <a:off x="457200" y="1824038"/>
            <a:ext cx="3840480" cy="674025"/>
          </a:xfrm>
        </p:spPr>
        <p:txBody>
          <a:bodyPr tIns="0" bIns="0">
            <a:norm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fld id="{B75044DC-E10A-4CD8-8643-431A1FB3E92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034709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Break_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 Diagonal Corner Rectangle 2"/>
          <p:cNvSpPr/>
          <p:nvPr userDrawn="1"/>
        </p:nvSpPr>
        <p:spPr>
          <a:xfrm>
            <a:off x="230188" y="228601"/>
            <a:ext cx="8686800" cy="571182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5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40664" y="1851803"/>
            <a:ext cx="7424928" cy="2340864"/>
          </a:xfrm>
        </p:spPr>
        <p:txBody>
          <a:bodyPr/>
          <a:lstStyle>
            <a:lvl1pPr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ection tit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2" y="649800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8000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97999B"/>
                </a:solidFill>
                <a:cs typeface="Arial" charset="0"/>
              </a:rPr>
              <a:t>Footer</a:t>
            </a:r>
            <a:endParaRPr lang="en-US" dirty="0">
              <a:solidFill>
                <a:srgbClr val="FF0000"/>
              </a:solidFill>
              <a:cs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EC50DD9-77BE-4AB6-A062-BCBAE0E361EE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42785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08380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Clo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1212" y="2815295"/>
            <a:ext cx="2691070" cy="1602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35672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is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44538" y="502920"/>
            <a:ext cx="7658101" cy="1154927"/>
          </a:xfrm>
        </p:spPr>
        <p:txBody>
          <a:bodyPr/>
          <a:lstStyle>
            <a:lvl1pPr>
              <a:lnSpc>
                <a:spcPts val="4000"/>
              </a:lnSpc>
              <a:defRPr sz="3600">
                <a:solidFill>
                  <a:srgbClr val="A22B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54572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186267" y="6290734"/>
            <a:ext cx="457200" cy="304800"/>
          </a:xfrm>
        </p:spPr>
        <p:txBody>
          <a:bodyPr/>
          <a:lstStyle>
            <a:lvl1pPr>
              <a:defRPr/>
            </a:lvl1pPr>
          </a:lstStyle>
          <a:p>
            <a:fld id="{8C0CF935-220D-4BFF-B9A8-A85397472488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569920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Bulle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44538" y="502920"/>
            <a:ext cx="7567612" cy="1154927"/>
          </a:xfrm>
        </p:spPr>
        <p:txBody>
          <a:bodyPr/>
          <a:lstStyle>
            <a:lvl1pPr>
              <a:lnSpc>
                <a:spcPts val="4000"/>
              </a:lnSpc>
              <a:defRPr sz="3600">
                <a:solidFill>
                  <a:srgbClr val="A22B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40662" y="1945300"/>
            <a:ext cx="7571488" cy="397952"/>
          </a:xfrm>
        </p:spPr>
        <p:txBody>
          <a:bodyPr/>
          <a:lstStyle>
            <a:lvl1pPr marL="0" indent="-182880">
              <a:lnSpc>
                <a:spcPts val="2200"/>
              </a:lnSpc>
              <a:spcBef>
                <a:spcPts val="0"/>
              </a:spcBef>
              <a:buFontTx/>
              <a:buNone/>
              <a:defRPr sz="2000" b="1" cap="all" baseline="0">
                <a:solidFill>
                  <a:srgbClr val="BD4F19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44538" y="2347635"/>
            <a:ext cx="7567612" cy="3592789"/>
          </a:xfrm>
        </p:spPr>
        <p:txBody>
          <a:bodyPr numCol="1">
            <a:noAutofit/>
          </a:bodyPr>
          <a:lstStyle>
            <a:lvl1pPr marL="182880" indent="-182880">
              <a:lnSpc>
                <a:spcPts val="22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Char char="•"/>
              <a:defRPr sz="2000" b="0">
                <a:solidFill>
                  <a:schemeClr val="tx1"/>
                </a:solidFill>
              </a:defRPr>
            </a:lvl1pPr>
            <a:lvl2pPr marL="455613" indent="-182880">
              <a:lnSpc>
                <a:spcPts val="22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Char char="•"/>
              <a:defRPr sz="2000" b="0">
                <a:solidFill>
                  <a:schemeClr val="tx1"/>
                </a:solidFill>
              </a:defRPr>
            </a:lvl2pPr>
            <a:lvl3pPr marL="731520" indent="-182880">
              <a:lnSpc>
                <a:spcPts val="22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Char char="•"/>
              <a:defRPr sz="2000" b="0">
                <a:solidFill>
                  <a:schemeClr val="tx1"/>
                </a:solidFill>
              </a:defRPr>
            </a:lvl3pPr>
            <a:lvl4pPr marL="1005840" indent="-182880">
              <a:lnSpc>
                <a:spcPts val="22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Char char="•"/>
              <a:defRPr sz="2000" b="0">
                <a:solidFill>
                  <a:schemeClr val="tx1"/>
                </a:solidFill>
              </a:defRPr>
            </a:lvl4pPr>
            <a:lvl5pPr marL="1280160" indent="-182880">
              <a:lnSpc>
                <a:spcPts val="22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Char char="•"/>
              <a:defRPr sz="20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69851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86400"/>
            <a:ext cx="8229600" cy="6948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57200" y="62640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3" y="649703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D6CA184-BD0E-4478-8B05-BF8276DBBD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918000"/>
            <a:ext cx="1828800" cy="522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1F82CAFC-3E11-42EE-95F9-501E65D4974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828800" y="918000"/>
            <a:ext cx="1828800" cy="522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DCFF910A-AE28-4729-9AA4-0BD28E40A35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657600" y="918000"/>
            <a:ext cx="1828800" cy="522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8B5629BA-4C8C-4611-9315-2B91C852F2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86400" y="918000"/>
            <a:ext cx="1828800" cy="522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4A86ED42-C77D-47CA-BF74-539831D2F8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315200" y="918000"/>
            <a:ext cx="1828800" cy="522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A66BA37-F51C-4112-B65B-9C89B2C2610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57200" y="6496089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chemeClr val="bg1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8C5585-67AB-457C-B573-BBAEA3F88F9C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37378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86400"/>
            <a:ext cx="8229600" cy="6948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57200" y="6264000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3" y="649703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D6CA184-BD0E-4478-8B05-BF8276DBBD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918000"/>
            <a:ext cx="2286000" cy="34884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881FCD54-0BC7-4E6C-A925-1F90E2B4F03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286000" y="918000"/>
            <a:ext cx="2286000" cy="34884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6C7DCDD-2490-4C32-A4AB-8B7BE56C6A8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0" y="918000"/>
            <a:ext cx="2286000" cy="34884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7BC38575-7431-46B6-98D6-A03641F62F2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58000" y="918000"/>
            <a:ext cx="2286000" cy="34884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9015AC5-C00C-4549-A5DD-C7B1FBCFB4B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4406900"/>
            <a:ext cx="2286000" cy="1731600"/>
          </a:xfrm>
          <a:solidFill>
            <a:srgbClr val="658D1B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A891092-6FA6-4A59-B269-76A106BF25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86000" y="4406900"/>
            <a:ext cx="2286000" cy="1731600"/>
          </a:xfrm>
          <a:solidFill>
            <a:srgbClr val="279989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BEE1A188-37C4-47CA-A029-D70C641E45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0" y="4406900"/>
            <a:ext cx="2286000" cy="1731600"/>
          </a:xfrm>
          <a:solidFill>
            <a:srgbClr val="00768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86B1E21C-0BA5-4462-886C-A94CD57ABD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58000" y="4406900"/>
            <a:ext cx="2286000" cy="1731600"/>
          </a:xfrm>
          <a:solidFill>
            <a:srgbClr val="005F86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EEEC6469-238F-43CF-930F-5B8994F0BDE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57200" y="6494510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>
              <a:cs typeface="Arial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055D79C-D74C-4A8F-9E9F-8BB3F2194B56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0096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orl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123B5F1-85A0-492C-A9F9-D8A74BA7CD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759229" y="1220606"/>
            <a:ext cx="10176775" cy="4875102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4" y="649703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536" y="86400"/>
            <a:ext cx="8229600" cy="694800"/>
          </a:xfrm>
        </p:spPr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9253A4E3-0F28-4836-BAD1-B361F59529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6709" y="918000"/>
            <a:ext cx="8230092" cy="2988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5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0DA159A-4FE8-4382-9BB4-3EFD01E62C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94510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>
              <a:cs typeface="Arial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C3EBE44-0E85-4508-AA83-93D0F664BAC7}"/>
              </a:ext>
            </a:extLst>
          </p:cNvPr>
          <p:cNvCxnSpPr/>
          <p:nvPr userDrawn="1"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6A2BCAF8-CC9C-451F-AB87-98726C05D230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83117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ingle col text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536" y="86400"/>
            <a:ext cx="4647600" cy="69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18000"/>
            <a:ext cx="4647600" cy="29880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500" b="0">
                <a:solidFill>
                  <a:schemeClr val="accent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263600"/>
            <a:ext cx="4647600" cy="4680000"/>
          </a:xfrm>
        </p:spPr>
        <p:txBody>
          <a:bodyPr/>
          <a:lstStyle>
            <a:lvl1pPr>
              <a:lnSpc>
                <a:spcPct val="100000"/>
              </a:lnSpc>
              <a:defRPr sz="135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5105456" y="1"/>
            <a:ext cx="4038544" cy="6857996"/>
          </a:xfrm>
        </p:spPr>
        <p:txBody>
          <a:bodyPr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1050"/>
            </a:lvl1pPr>
          </a:lstStyle>
          <a:p>
            <a:pPr lvl="0"/>
            <a:r>
              <a:rPr lang="en-US" noProof="0" dirty="0"/>
              <a:t>Double click icon to add picture</a:t>
            </a:r>
          </a:p>
        </p:txBody>
      </p:sp>
      <p:sp>
        <p:nvSpPr>
          <p:cNvPr id="1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3" y="649703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>
            <a:cxnSpLocks/>
          </p:cNvCxnSpPr>
          <p:nvPr userDrawn="1"/>
        </p:nvCxnSpPr>
        <p:spPr>
          <a:xfrm>
            <a:off x="457200" y="781200"/>
            <a:ext cx="4647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 userDrawn="1"/>
        </p:nvCxnSpPr>
        <p:spPr>
          <a:xfrm>
            <a:off x="457214" y="6265253"/>
            <a:ext cx="4647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C6AA16C5-B421-4B9E-B5D5-B78A84466F5E}"/>
              </a:ext>
            </a:extLst>
          </p:cNvPr>
          <p:cNvSpPr txBox="1"/>
          <p:nvPr userDrawn="1"/>
        </p:nvSpPr>
        <p:spPr>
          <a:xfrm>
            <a:off x="5673600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4510"/>
            <a:ext cx="4647600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424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ingle col text and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536" y="86400"/>
            <a:ext cx="8229600" cy="69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18000"/>
            <a:ext cx="8229600" cy="29880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500" b="0">
                <a:solidFill>
                  <a:schemeClr val="accent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263600"/>
            <a:ext cx="4040188" cy="4680000"/>
          </a:xfrm>
        </p:spPr>
        <p:txBody>
          <a:bodyPr/>
          <a:lstStyle>
            <a:lvl1pPr>
              <a:lnSpc>
                <a:spcPct val="100000"/>
              </a:lnSpc>
              <a:defRPr sz="135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4640231" y="1263600"/>
            <a:ext cx="4038544" cy="4680000"/>
          </a:xfrm>
        </p:spPr>
        <p:txBody>
          <a:bodyPr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1050"/>
            </a:lvl1pPr>
          </a:lstStyle>
          <a:p>
            <a:pPr lvl="0"/>
            <a:r>
              <a:rPr lang="en-US" noProof="0" dirty="0"/>
              <a:t>Double click icon to add picture</a:t>
            </a:r>
          </a:p>
        </p:txBody>
      </p:sp>
      <p:sp>
        <p:nvSpPr>
          <p:cNvPr id="1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3" y="649703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6089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GB" dirty="0">
              <a:solidFill>
                <a:srgbClr val="97999B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C2EDF6C-238C-4A3E-9AA7-EA9FDC45443E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84848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or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88848" y="116914"/>
            <a:ext cx="2678400" cy="6019879"/>
          </a:xfrm>
          <a:solidFill>
            <a:srgbClr val="279989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12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050"/>
            </a:lvl3pPr>
            <a:lvl4pPr>
              <a:lnSpc>
                <a:spcPct val="100000"/>
              </a:lnSpc>
              <a:defRPr sz="9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81F6D43B-FDBC-4FBD-BAEA-D066E05E6E8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223025" y="116914"/>
            <a:ext cx="2679469" cy="6019879"/>
          </a:xfrm>
          <a:solidFill>
            <a:srgbClr val="007681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050"/>
            </a:lvl3pPr>
            <a:lvl4pPr>
              <a:lnSpc>
                <a:spcPct val="100000"/>
              </a:lnSpc>
              <a:defRPr sz="9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116914"/>
            <a:ext cx="2679469" cy="6009252"/>
          </a:xfrm>
          <a:solidFill>
            <a:srgbClr val="005F86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050"/>
            </a:lvl3pPr>
            <a:lvl4pPr>
              <a:lnSpc>
                <a:spcPct val="100000"/>
              </a:lnSpc>
              <a:defRPr sz="9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562104" y="649703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" y="6494511"/>
            <a:ext cx="5396276" cy="123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>
              <a:cs typeface="Arial" charset="0"/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33B9B2BE-B4C8-4C2F-8165-8541AED90C44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59416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PhotoBlock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 Diagonal Corner Rectangle 8"/>
          <p:cNvSpPr/>
          <p:nvPr userDrawn="1"/>
        </p:nvSpPr>
        <p:spPr>
          <a:xfrm>
            <a:off x="6607175" y="2112433"/>
            <a:ext cx="2332038" cy="3843867"/>
          </a:xfrm>
          <a:prstGeom prst="round2DiagRect">
            <a:avLst>
              <a:gd name="adj1" fmla="val 0"/>
              <a:gd name="adj2" fmla="val 7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0" name="Round Diagonal Corner Rectangle 9"/>
          <p:cNvSpPr/>
          <p:nvPr userDrawn="1"/>
        </p:nvSpPr>
        <p:spPr>
          <a:xfrm>
            <a:off x="6602414" y="518585"/>
            <a:ext cx="1597025" cy="1452033"/>
          </a:xfrm>
          <a:prstGeom prst="round2DiagRect">
            <a:avLst>
              <a:gd name="adj1" fmla="val 1506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 hasCustomPrompt="1"/>
          </p:nvPr>
        </p:nvSpPr>
        <p:spPr>
          <a:xfrm>
            <a:off x="-1" y="228600"/>
            <a:ext cx="6501384" cy="5715000"/>
          </a:xfrm>
          <a:prstGeom prst="rect">
            <a:avLst/>
          </a:prstGeom>
          <a:solidFill>
            <a:schemeClr val="tx2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dirty="0"/>
              <a:t>Double click icon to add picture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868962" y="2691162"/>
            <a:ext cx="1813075" cy="1491721"/>
          </a:xfrm>
        </p:spPr>
        <p:txBody>
          <a:bodyPr t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cover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68962" y="4206241"/>
            <a:ext cx="1813075" cy="1317625"/>
          </a:xfrm>
        </p:spPr>
        <p:txBody>
          <a:bodyPr tIns="0" bIns="0">
            <a:noAutofit/>
          </a:bodyPr>
          <a:lstStyle>
            <a:lvl1pPr marL="0" indent="0">
              <a:buFontTx/>
              <a:buNone/>
              <a:defRPr sz="1400" b="0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cover sub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775157" y="6511173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</a:t>
            </a:r>
            <a:r>
              <a:rPr lang="en-US" altLang="en-US" sz="700" baseline="30000" dirty="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sp>
        <p:nvSpPr>
          <p:cNvPr id="12" name="Flowchart: Document 10">
            <a:extLst>
              <a:ext uri="{FF2B5EF4-FFF2-40B4-BE49-F238E27FC236}">
                <a16:creationId xmlns:a16="http://schemas.microsoft.com/office/drawing/2014/main" id="{8292C422-B919-D841-9863-5310E96A5536}"/>
              </a:ext>
            </a:extLst>
          </p:cNvPr>
          <p:cNvSpPr/>
          <p:nvPr userDrawn="1"/>
        </p:nvSpPr>
        <p:spPr>
          <a:xfrm>
            <a:off x="-1811708" y="189706"/>
            <a:ext cx="1811708" cy="1503363"/>
          </a:xfrm>
          <a:prstGeom prst="flowChartDocument">
            <a:avLst/>
          </a:prstGeom>
          <a:solidFill>
            <a:srgbClr val="FF00FF"/>
          </a:solidFill>
          <a:ln>
            <a:solidFill>
              <a:srgbClr val="CC00CC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Changing image:</a:t>
            </a:r>
          </a:p>
          <a:p>
            <a:pPr eaLnBrk="1" hangingPunct="1"/>
            <a:endParaRPr lang="en-US" altLang="en-US" sz="1000" dirty="0">
              <a:latin typeface="Arial" pitchFamily="34" charset="0"/>
              <a:cs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elete current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ouble click icon to select new image</a:t>
            </a:r>
          </a:p>
        </p:txBody>
      </p:sp>
    </p:spTree>
    <p:extLst>
      <p:ext uri="{BB962C8B-B14F-4D97-AF65-F5344CB8AC3E}">
        <p14:creationId xmlns:p14="http://schemas.microsoft.com/office/powerpoint/2010/main" val="11286156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536" y="86400"/>
            <a:ext cx="8229600" cy="6948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3" y="649703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4510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>
              <a:cs typeface="Arial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E04472-216E-404A-8DC0-3FACD505E415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1D4586-E2C6-4C28-ABE3-FBFDB975D11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7200" y="918000"/>
            <a:ext cx="8229600" cy="5220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856671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ingle col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6709" y="918000"/>
            <a:ext cx="8230092" cy="2988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5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536" y="86400"/>
            <a:ext cx="8229600" cy="6948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2" y="649800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8000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dirty="0">
                <a:cs typeface="Arial" charset="0"/>
              </a:rPr>
              <a:t>Footer	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B9F305D-9065-475F-ABB6-B20B5F9D0E91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3D603A-8441-47E3-A9BA-88B94C73D54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7200" y="1263600"/>
            <a:ext cx="8229600" cy="4860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182089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536" y="86400"/>
            <a:ext cx="8229600" cy="6948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18000"/>
            <a:ext cx="4040188" cy="29880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500" b="0">
                <a:solidFill>
                  <a:schemeClr val="accent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263600"/>
            <a:ext cx="4040188" cy="4860000"/>
          </a:xfrm>
        </p:spPr>
        <p:txBody>
          <a:bodyPr/>
          <a:lstStyle>
            <a:lvl1pPr>
              <a:lnSpc>
                <a:spcPct val="100000"/>
              </a:lnSpc>
              <a:defRPr sz="135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918000"/>
            <a:ext cx="4041775" cy="29880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500" b="0">
                <a:solidFill>
                  <a:schemeClr val="accent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1263600"/>
            <a:ext cx="4041775" cy="4860000"/>
          </a:xfrm>
        </p:spPr>
        <p:txBody>
          <a:bodyPr/>
          <a:lstStyle>
            <a:lvl1pPr>
              <a:lnSpc>
                <a:spcPct val="100000"/>
              </a:lnSpc>
              <a:defRPr sz="135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562103" y="649703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" y="6498000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B0B46D41-5A3B-495D-8E75-88D127AF7536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65291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6709" y="918000"/>
            <a:ext cx="5011200" cy="2988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5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536" y="86400"/>
            <a:ext cx="8229600" cy="694800"/>
          </a:xfrm>
        </p:spPr>
        <p:txBody>
          <a:bodyPr/>
          <a:lstStyle/>
          <a:p>
            <a:r>
              <a:rPr lang="en-US" dirty="0"/>
              <a:t>Click to edit 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3" y="649703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8000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>
              <a:cs typeface="Arial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263600"/>
            <a:ext cx="4320000" cy="4622400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4pPr>
              <a:defRPr sz="1200"/>
            </a:lvl4pPr>
            <a:lvl5pPr marL="641747" indent="0">
              <a:buNone/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ABE65F3-CBFE-4040-9FD2-10CF853C740E}"/>
              </a:ext>
            </a:extLst>
          </p:cNvPr>
          <p:cNvGrpSpPr/>
          <p:nvPr userDrawn="1"/>
        </p:nvGrpSpPr>
        <p:grpSpPr>
          <a:xfrm>
            <a:off x="5673901" y="1240397"/>
            <a:ext cx="2938031" cy="4646266"/>
            <a:chOff x="6033600" y="1240397"/>
            <a:chExt cx="2938031" cy="4646266"/>
          </a:xfrm>
        </p:grpSpPr>
        <p:sp>
          <p:nvSpPr>
            <p:cNvPr id="10" name="Round Diagonal Corner Rectangle 9">
              <a:extLst>
                <a:ext uri="{FF2B5EF4-FFF2-40B4-BE49-F238E27FC236}">
                  <a16:creationId xmlns:a16="http://schemas.microsoft.com/office/drawing/2014/main" id="{F4A9E267-9C7E-45F1-BB06-5D96BAA0376D}"/>
                </a:ext>
              </a:extLst>
            </p:cNvPr>
            <p:cNvSpPr/>
            <p:nvPr/>
          </p:nvSpPr>
          <p:spPr>
            <a:xfrm>
              <a:off x="6033601" y="2944723"/>
              <a:ext cx="2938030" cy="2941940"/>
            </a:xfrm>
            <a:prstGeom prst="round2DiagRect">
              <a:avLst>
                <a:gd name="adj1" fmla="val 12782"/>
                <a:gd name="adj2" fmla="val 0"/>
              </a:avLst>
            </a:prstGeom>
            <a:solidFill>
              <a:srgbClr val="005F8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" name="Round Diagonal Corner Rectangle 10">
              <a:extLst>
                <a:ext uri="{FF2B5EF4-FFF2-40B4-BE49-F238E27FC236}">
                  <a16:creationId xmlns:a16="http://schemas.microsoft.com/office/drawing/2014/main" id="{41359E97-B8F6-4703-8662-A3809AF3B07F}"/>
                </a:ext>
              </a:extLst>
            </p:cNvPr>
            <p:cNvSpPr/>
            <p:nvPr/>
          </p:nvSpPr>
          <p:spPr>
            <a:xfrm flipH="1">
              <a:off x="6979173" y="1240397"/>
              <a:ext cx="1986108" cy="1588112"/>
            </a:xfrm>
            <a:prstGeom prst="round2DiagRect">
              <a:avLst>
                <a:gd name="adj1" fmla="val 0"/>
                <a:gd name="adj2" fmla="val 22900"/>
              </a:avLst>
            </a:prstGeom>
            <a:solidFill>
              <a:srgbClr val="00768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7" name="Round Diagonal Corner Rectangle 5">
              <a:extLst>
                <a:ext uri="{FF2B5EF4-FFF2-40B4-BE49-F238E27FC236}">
                  <a16:creationId xmlns:a16="http://schemas.microsoft.com/office/drawing/2014/main" id="{6DEC578D-63EA-4F9C-9C07-539223C24B4A}"/>
                </a:ext>
              </a:extLst>
            </p:cNvPr>
            <p:cNvSpPr/>
            <p:nvPr/>
          </p:nvSpPr>
          <p:spPr>
            <a:xfrm>
              <a:off x="6033600" y="2063485"/>
              <a:ext cx="852056" cy="767483"/>
            </a:xfrm>
            <a:prstGeom prst="round2DiagRect">
              <a:avLst>
                <a:gd name="adj1" fmla="val 0"/>
                <a:gd name="adj2" fmla="val 46032"/>
              </a:avLst>
            </a:prstGeom>
            <a:solidFill>
              <a:schemeClr val="tx2">
                <a:lumMod val="9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00C620-C8F2-4119-9FC6-E4D4E4A835B1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5959653" y="3315018"/>
            <a:ext cx="2327275" cy="1881717"/>
          </a:xfrm>
        </p:spPr>
        <p:txBody>
          <a:bodyPr lIns="90000" rIns="9000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BF2FCB5-B504-43E6-BF6A-A3E60E3CEFAB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82708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536" y="86400"/>
            <a:ext cx="8229600" cy="6948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altLang="en-US" dirty="0"/>
              <a:t>Click to edit slide title</a:t>
            </a:r>
            <a:endParaRPr lang="en-US" dirty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3" y="649800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6089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GB" dirty="0">
              <a:solidFill>
                <a:srgbClr val="97999B"/>
              </a:solidFill>
              <a:cs typeface="Arial" charset="0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63" name="Ink 62">
                <a:extLst>
                  <a:ext uri="{FF2B5EF4-FFF2-40B4-BE49-F238E27FC236}">
                    <a16:creationId xmlns:a16="http://schemas.microsoft.com/office/drawing/2014/main" id="{C945F9E1-E051-4CC4-8508-16AC93E59B80}"/>
                  </a:ext>
                </a:extLst>
              </p14:cNvPr>
              <p14:cNvContentPartPr/>
              <p14:nvPr userDrawn="1"/>
            </p14:nvContentPartPr>
            <p14:xfrm>
              <a:off x="5016819" y="5882227"/>
              <a:ext cx="360" cy="480"/>
            </p14:xfrm>
          </p:contentPart>
        </mc:Choice>
        <mc:Fallback xmlns="">
          <p:pic>
            <p:nvPicPr>
              <p:cNvPr id="63" name="Ink 62">
                <a:extLst>
                  <a:ext uri="{FF2B5EF4-FFF2-40B4-BE49-F238E27FC236}">
                    <a16:creationId xmlns:a16="http://schemas.microsoft.com/office/drawing/2014/main" id="{C945F9E1-E051-4CC4-8508-16AC93E59B80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007819" y="5870227"/>
                <a:ext cx="18000" cy="24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67" name="Ink 66">
                <a:extLst>
                  <a:ext uri="{FF2B5EF4-FFF2-40B4-BE49-F238E27FC236}">
                    <a16:creationId xmlns:a16="http://schemas.microsoft.com/office/drawing/2014/main" id="{23F45C98-8EFB-4D66-A36D-4EB5D274A5B3}"/>
                  </a:ext>
                </a:extLst>
              </p14:cNvPr>
              <p14:cNvContentPartPr/>
              <p14:nvPr userDrawn="1"/>
            </p14:nvContentPartPr>
            <p14:xfrm>
              <a:off x="1912179" y="50707"/>
              <a:ext cx="360" cy="480"/>
            </p14:xfrm>
          </p:contentPart>
        </mc:Choice>
        <mc:Fallback xmlns="">
          <p:pic>
            <p:nvPicPr>
              <p:cNvPr id="67" name="Ink 66">
                <a:extLst>
                  <a:ext uri="{FF2B5EF4-FFF2-40B4-BE49-F238E27FC236}">
                    <a16:creationId xmlns:a16="http://schemas.microsoft.com/office/drawing/2014/main" id="{23F45C98-8EFB-4D66-A36D-4EB5D274A5B3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03179" y="38707"/>
                <a:ext cx="18000" cy="24000"/>
              </a:xfrm>
              <a:prstGeom prst="rect">
                <a:avLst/>
              </a:prstGeom>
            </p:spPr>
          </p:pic>
        </mc:Fallback>
      </mc:AlternateContent>
      <p:sp>
        <p:nvSpPr>
          <p:cNvPr id="25" name="TextBox 24">
            <a:extLst>
              <a:ext uri="{FF2B5EF4-FFF2-40B4-BE49-F238E27FC236}">
                <a16:creationId xmlns:a16="http://schemas.microsoft.com/office/drawing/2014/main" id="{A91CF574-9B34-4F35-85D2-8A8E0B5D88F1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E1880AC-0EDD-4847-AC7D-6E404B926C64}"/>
              </a:ext>
            </a:extLst>
          </p:cNvPr>
          <p:cNvGrpSpPr/>
          <p:nvPr userDrawn="1"/>
        </p:nvGrpSpPr>
        <p:grpSpPr>
          <a:xfrm>
            <a:off x="-717570" y="1870781"/>
            <a:ext cx="7368536" cy="3116439"/>
            <a:chOff x="-717570" y="1870781"/>
            <a:chExt cx="7368536" cy="3116439"/>
          </a:xfrm>
        </p:grpSpPr>
        <p:sp>
          <p:nvSpPr>
            <p:cNvPr id="26" name="Rectangle: Diagonal Corners Rounded 25">
              <a:extLst>
                <a:ext uri="{FF2B5EF4-FFF2-40B4-BE49-F238E27FC236}">
                  <a16:creationId xmlns:a16="http://schemas.microsoft.com/office/drawing/2014/main" id="{E4CCF16D-970B-446A-B860-F503C06C1625}"/>
                </a:ext>
              </a:extLst>
            </p:cNvPr>
            <p:cNvSpPr/>
            <p:nvPr userDrawn="1"/>
          </p:nvSpPr>
          <p:spPr>
            <a:xfrm>
              <a:off x="4755229" y="2257766"/>
              <a:ext cx="1894320" cy="1434622"/>
            </a:xfrm>
            <a:prstGeom prst="round2DiagRect">
              <a:avLst>
                <a:gd name="adj1" fmla="val 13272"/>
                <a:gd name="adj2" fmla="val 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tIns="108000" rIns="216000" rtlCol="0" anchor="t" anchorCtr="0"/>
            <a:lstStyle/>
            <a:p>
              <a:pPr defTabSz="914378">
                <a:defRPr/>
              </a:pPr>
              <a:endParaRPr lang="en-US" altLang="zh-CN" sz="1400" b="1" dirty="0">
                <a:solidFill>
                  <a:srgbClr val="FFFFFF"/>
                </a:solidFill>
                <a:latin typeface="Arial"/>
                <a:ea typeface="黑体" panose="02010609060101010101" pitchFamily="49" charset="-122"/>
              </a:endParaRPr>
            </a:p>
          </p:txBody>
        </p:sp>
        <p:sp>
          <p:nvSpPr>
            <p:cNvPr id="27" name="Rectangle: Diagonal Corners Rounded 26">
              <a:extLst>
                <a:ext uri="{FF2B5EF4-FFF2-40B4-BE49-F238E27FC236}">
                  <a16:creationId xmlns:a16="http://schemas.microsoft.com/office/drawing/2014/main" id="{FAE39ACA-FA14-4F03-B4AD-83BFD74C9158}"/>
                </a:ext>
              </a:extLst>
            </p:cNvPr>
            <p:cNvSpPr/>
            <p:nvPr userDrawn="1"/>
          </p:nvSpPr>
          <p:spPr>
            <a:xfrm>
              <a:off x="2374104" y="2450324"/>
              <a:ext cx="2296903" cy="1024828"/>
            </a:xfrm>
            <a:prstGeom prst="round2DiagRect">
              <a:avLst>
                <a:gd name="adj1" fmla="val 0"/>
                <a:gd name="adj2" fmla="val 18418"/>
              </a:avLst>
            </a:prstGeom>
            <a:solidFill>
              <a:srgbClr val="2799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tIns="108000" rIns="216000" rtlCol="0" anchor="t" anchorCtr="0"/>
            <a:lstStyle/>
            <a:p>
              <a:pPr defTabSz="914378">
                <a:defRPr/>
              </a:pPr>
              <a:endParaRPr lang="en-US" altLang="zh-CN" sz="1400" b="1" dirty="0">
                <a:solidFill>
                  <a:srgbClr val="FFFFFF"/>
                </a:solidFill>
                <a:latin typeface="Arial"/>
                <a:ea typeface="黑体" panose="02010609060101010101" pitchFamily="49" charset="-122"/>
              </a:endParaRPr>
            </a:p>
          </p:txBody>
        </p:sp>
        <p:sp>
          <p:nvSpPr>
            <p:cNvPr id="28" name="Rectangle: Diagonal Corners Rounded 27">
              <a:extLst>
                <a:ext uri="{FF2B5EF4-FFF2-40B4-BE49-F238E27FC236}">
                  <a16:creationId xmlns:a16="http://schemas.microsoft.com/office/drawing/2014/main" id="{10AA963A-1715-43D7-AB55-75D674935BAF}"/>
                </a:ext>
              </a:extLst>
            </p:cNvPr>
            <p:cNvSpPr/>
            <p:nvPr userDrawn="1"/>
          </p:nvSpPr>
          <p:spPr>
            <a:xfrm>
              <a:off x="-399535" y="2554883"/>
              <a:ext cx="1113725" cy="705910"/>
            </a:xfrm>
            <a:prstGeom prst="round2DiagRect">
              <a:avLst>
                <a:gd name="adj1" fmla="val 23706"/>
                <a:gd name="adj2" fmla="val 0"/>
              </a:avLst>
            </a:prstGeom>
            <a:solidFill>
              <a:srgbClr val="2799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>
                <a:defRPr/>
              </a:pPr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9" name="Rectangle: Diagonal Corners Rounded 28">
              <a:extLst>
                <a:ext uri="{FF2B5EF4-FFF2-40B4-BE49-F238E27FC236}">
                  <a16:creationId xmlns:a16="http://schemas.microsoft.com/office/drawing/2014/main" id="{FEEA491E-A573-4354-A60F-7A17C1539A37}"/>
                </a:ext>
              </a:extLst>
            </p:cNvPr>
            <p:cNvSpPr/>
            <p:nvPr userDrawn="1"/>
          </p:nvSpPr>
          <p:spPr>
            <a:xfrm>
              <a:off x="-717570" y="3335045"/>
              <a:ext cx="1418214" cy="1114362"/>
            </a:xfrm>
            <a:prstGeom prst="round2DiagRect">
              <a:avLst>
                <a:gd name="adj1" fmla="val 0"/>
                <a:gd name="adj2" fmla="val 15238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>
                <a:defRPr/>
              </a:pPr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0" name="Rectangle: Diagonal Corners Rounded 29">
              <a:extLst>
                <a:ext uri="{FF2B5EF4-FFF2-40B4-BE49-F238E27FC236}">
                  <a16:creationId xmlns:a16="http://schemas.microsoft.com/office/drawing/2014/main" id="{36A189E7-53AB-48FE-9FF1-9F1BF5C9F0BF}"/>
                </a:ext>
              </a:extLst>
            </p:cNvPr>
            <p:cNvSpPr/>
            <p:nvPr userDrawn="1"/>
          </p:nvSpPr>
          <p:spPr>
            <a:xfrm>
              <a:off x="2944784" y="3552598"/>
              <a:ext cx="1713600" cy="1434622"/>
            </a:xfrm>
            <a:prstGeom prst="round2DiagRect">
              <a:avLst>
                <a:gd name="adj1" fmla="val 18175"/>
                <a:gd name="adj2" fmla="val 0"/>
              </a:avLst>
            </a:prstGeom>
            <a:solidFill>
              <a:srgbClr val="005F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tIns="108000" rIns="216000" rtlCol="0" anchor="t" anchorCtr="0"/>
            <a:lstStyle/>
            <a:p>
              <a:pPr defTabSz="914378">
                <a:defRPr/>
              </a:pPr>
              <a:endParaRPr lang="en-US" altLang="zh-CN" sz="1400" b="1" dirty="0">
                <a:solidFill>
                  <a:srgbClr val="FFFFFF"/>
                </a:solidFill>
                <a:latin typeface="Arial"/>
                <a:ea typeface="黑体" panose="02010609060101010101" pitchFamily="49" charset="-122"/>
              </a:endParaRPr>
            </a:p>
          </p:txBody>
        </p:sp>
        <p:sp>
          <p:nvSpPr>
            <p:cNvPr id="31" name="Rectangle: Diagonal Corners Rounded 30">
              <a:extLst>
                <a:ext uri="{FF2B5EF4-FFF2-40B4-BE49-F238E27FC236}">
                  <a16:creationId xmlns:a16="http://schemas.microsoft.com/office/drawing/2014/main" id="{F84D8B6E-14EC-4BF3-98CA-83B00475A8B6}"/>
                </a:ext>
              </a:extLst>
            </p:cNvPr>
            <p:cNvSpPr/>
            <p:nvPr userDrawn="1"/>
          </p:nvSpPr>
          <p:spPr>
            <a:xfrm>
              <a:off x="780214" y="2180906"/>
              <a:ext cx="1508407" cy="1294246"/>
            </a:xfrm>
            <a:prstGeom prst="round2DiagRect">
              <a:avLst>
                <a:gd name="adj1" fmla="val 0"/>
                <a:gd name="adj2" fmla="val 14728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tIns="108000" rIns="216000" rtlCol="0" anchor="t" anchorCtr="0"/>
            <a:lstStyle/>
            <a:p>
              <a:pPr defTabSz="914378">
                <a:defRPr/>
              </a:pPr>
              <a:endParaRPr lang="en-US" altLang="zh-CN" sz="1200" dirty="0">
                <a:solidFill>
                  <a:srgbClr val="FFFFFF"/>
                </a:solidFill>
                <a:latin typeface="Arial"/>
                <a:ea typeface="黑体" panose="02010609060101010101" pitchFamily="49" charset="-122"/>
              </a:endParaRPr>
            </a:p>
          </p:txBody>
        </p:sp>
        <p:sp>
          <p:nvSpPr>
            <p:cNvPr id="32" name="Rectangle: Diagonal Corners Rounded 31">
              <a:extLst>
                <a:ext uri="{FF2B5EF4-FFF2-40B4-BE49-F238E27FC236}">
                  <a16:creationId xmlns:a16="http://schemas.microsoft.com/office/drawing/2014/main" id="{CF10D7D2-1352-4B06-A7A7-8CC248730698}"/>
                </a:ext>
              </a:extLst>
            </p:cNvPr>
            <p:cNvSpPr/>
            <p:nvPr userDrawn="1"/>
          </p:nvSpPr>
          <p:spPr>
            <a:xfrm>
              <a:off x="780214" y="3548815"/>
              <a:ext cx="2087932" cy="1114360"/>
            </a:xfrm>
            <a:prstGeom prst="round2DiagRect">
              <a:avLst>
                <a:gd name="adj1" fmla="val 19298"/>
                <a:gd name="adj2" fmla="val 0"/>
              </a:avLst>
            </a:prstGeom>
            <a:solidFill>
              <a:srgbClr val="2799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216000" tIns="108000" rIns="216000" rtlCol="0" anchor="t" anchorCtr="0"/>
            <a:lstStyle/>
            <a:p>
              <a:pPr defTabSz="914378">
                <a:defRPr/>
              </a:pPr>
              <a:endParaRPr lang="en-US" altLang="zh-CN" sz="1200" b="1" dirty="0">
                <a:solidFill>
                  <a:srgbClr val="FFFFFF"/>
                </a:solidFill>
                <a:latin typeface="Arial"/>
                <a:ea typeface="黑体" panose="02010609060101010101" pitchFamily="49" charset="-122"/>
              </a:endParaRPr>
            </a:p>
          </p:txBody>
        </p:sp>
        <p:sp>
          <p:nvSpPr>
            <p:cNvPr id="33" name="Rectangle: Diagonal Corners Rounded 32">
              <a:extLst>
                <a:ext uri="{FF2B5EF4-FFF2-40B4-BE49-F238E27FC236}">
                  <a16:creationId xmlns:a16="http://schemas.microsoft.com/office/drawing/2014/main" id="{34F04820-64AC-47D0-8E2B-0682AA0DECEA}"/>
                </a:ext>
              </a:extLst>
            </p:cNvPr>
            <p:cNvSpPr/>
            <p:nvPr userDrawn="1"/>
          </p:nvSpPr>
          <p:spPr>
            <a:xfrm>
              <a:off x="4756645" y="3772775"/>
              <a:ext cx="1894321" cy="811468"/>
            </a:xfrm>
            <a:prstGeom prst="round2DiagRect">
              <a:avLst>
                <a:gd name="adj1" fmla="val 0"/>
                <a:gd name="adj2" fmla="val 19156"/>
              </a:avLst>
            </a:prstGeom>
            <a:solidFill>
              <a:srgbClr val="2799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tIns="108000" rIns="216000" rtlCol="0" anchor="t" anchorCtr="0"/>
            <a:lstStyle/>
            <a:p>
              <a:pPr algn="ctr" defTabSz="914378">
                <a:defRPr/>
              </a:pPr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4" name="Rectangle: Diagonal Corners Rounded 33">
              <a:extLst>
                <a:ext uri="{FF2B5EF4-FFF2-40B4-BE49-F238E27FC236}">
                  <a16:creationId xmlns:a16="http://schemas.microsoft.com/office/drawing/2014/main" id="{6CE40CE2-2578-4D1E-A57D-466E4C501B8F}"/>
                </a:ext>
              </a:extLst>
            </p:cNvPr>
            <p:cNvSpPr/>
            <p:nvPr userDrawn="1"/>
          </p:nvSpPr>
          <p:spPr>
            <a:xfrm>
              <a:off x="2374104" y="1870781"/>
              <a:ext cx="1113725" cy="502216"/>
            </a:xfrm>
            <a:prstGeom prst="round2DiagRect">
              <a:avLst>
                <a:gd name="adj1" fmla="val 31453"/>
                <a:gd name="adj2" fmla="val 0"/>
              </a:avLst>
            </a:prstGeom>
            <a:solidFill>
              <a:srgbClr val="005F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>
                <a:defRPr/>
              </a:pPr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30773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header 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536" y="86400"/>
            <a:ext cx="8229600" cy="694800"/>
          </a:xfrm>
        </p:spPr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altLang="en-US" dirty="0"/>
              <a:t>Click to edit slide title</a:t>
            </a:r>
            <a:endParaRPr lang="en-US" dirty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2" y="649800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8000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97999B"/>
                </a:solidFill>
                <a:cs typeface="Arial" charset="0"/>
              </a:rPr>
              <a:t>Footer</a:t>
            </a:r>
            <a:endParaRPr lang="en-US" dirty="0">
              <a:solidFill>
                <a:srgbClr val="FF0000"/>
              </a:solidFill>
              <a:cs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F678D3-731A-42D0-A5C1-213A4A7A0942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46945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2" y="649800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8000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97999B"/>
                </a:solidFill>
                <a:cs typeface="Arial" charset="0"/>
              </a:rPr>
              <a:t>Footer</a:t>
            </a:r>
            <a:endParaRPr lang="en-US" dirty="0">
              <a:solidFill>
                <a:srgbClr val="FF0000"/>
              </a:solidFill>
              <a:cs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F678D3-731A-42D0-A5C1-213A4A7A0942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66127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6709" y="918000"/>
            <a:ext cx="8230092" cy="2988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5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536" y="86400"/>
            <a:ext cx="8229600" cy="694800"/>
          </a:xfrm>
        </p:spPr>
        <p:txBody>
          <a:bodyPr/>
          <a:lstStyle/>
          <a:p>
            <a:r>
              <a:rPr lang="en-US" dirty="0"/>
              <a:t>Click to edit 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3" y="649703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8000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>
              <a:cs typeface="Arial" charset="0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9E6F39F-C2EF-4563-801B-86EE5C091A8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" y="1678504"/>
            <a:ext cx="705668" cy="8676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22B57D9-F1A1-401D-9CA9-976E7BFE10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2626956"/>
            <a:ext cx="705668" cy="92333"/>
          </a:xfrm>
        </p:spPr>
        <p:txBody>
          <a:bodyPr tIns="0" bIns="0">
            <a:spAutoFit/>
          </a:bodyPr>
          <a:lstStyle>
            <a:lvl1pPr marL="0" indent="0">
              <a:buNone/>
              <a:defRPr sz="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396FA87C-F9FE-498B-BBC0-B6E96C2914F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800670" y="1678504"/>
            <a:ext cx="705668" cy="8676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C498B4D9-DF96-4B9D-8DA7-50FE858A309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00670" y="2626956"/>
            <a:ext cx="705668" cy="92333"/>
          </a:xfrm>
        </p:spPr>
        <p:txBody>
          <a:bodyPr tIns="0" bIns="0">
            <a:spAutoFit/>
          </a:bodyPr>
          <a:lstStyle>
            <a:lvl1pPr marL="0" indent="0">
              <a:buNone/>
              <a:defRPr sz="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0D94E20C-EFE3-451A-B52A-3EDCAD9B5B0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57200" y="3221799"/>
            <a:ext cx="705668" cy="8676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CE638367-63E6-48BA-8FFA-AFBDE4CAC69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7200" y="4170250"/>
            <a:ext cx="705668" cy="92333"/>
          </a:xfrm>
        </p:spPr>
        <p:txBody>
          <a:bodyPr tIns="0" bIns="0">
            <a:spAutoFit/>
          </a:bodyPr>
          <a:lstStyle>
            <a:lvl1pPr marL="0" indent="0">
              <a:buNone/>
              <a:defRPr sz="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BFB1206D-99C4-4891-B0FC-B028629FB78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800670" y="3221799"/>
            <a:ext cx="705668" cy="8676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7E1D37C-082F-4AB5-9E53-9296312B6F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800670" y="4170250"/>
            <a:ext cx="705668" cy="92333"/>
          </a:xfrm>
        </p:spPr>
        <p:txBody>
          <a:bodyPr tIns="0" bIns="0">
            <a:spAutoFit/>
          </a:bodyPr>
          <a:lstStyle>
            <a:lvl1pPr marL="0" indent="0">
              <a:buNone/>
              <a:defRPr sz="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0B714431-5971-4D98-9184-F8C5C1F0E66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034488" y="3221799"/>
            <a:ext cx="705668" cy="8676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98FE3DBF-57C8-46E5-9975-94AB11A4E05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045858" y="4170250"/>
            <a:ext cx="705668" cy="92333"/>
          </a:xfrm>
        </p:spPr>
        <p:txBody>
          <a:bodyPr tIns="0" bIns="0">
            <a:spAutoFit/>
          </a:bodyPr>
          <a:lstStyle>
            <a:lvl1pPr marL="0" indent="0">
              <a:buNone/>
              <a:defRPr sz="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7DE959EE-530E-46D8-97EA-86639EE6BA32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267815" y="3221799"/>
            <a:ext cx="705668" cy="8676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A6495EC9-FC83-4103-B5BA-9A12CE9ECB5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67815" y="4170250"/>
            <a:ext cx="705668" cy="92333"/>
          </a:xfrm>
        </p:spPr>
        <p:txBody>
          <a:bodyPr tIns="0" bIns="0">
            <a:spAutoFit/>
          </a:bodyPr>
          <a:lstStyle>
            <a:lvl1pPr marL="0" indent="0">
              <a:buNone/>
              <a:defRPr sz="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4624544F-ADCA-458E-938D-9AD98C7FC9F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57200" y="4765093"/>
            <a:ext cx="705668" cy="8676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52D270E5-6C13-4A68-87BA-91166A6FBC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7200" y="5713544"/>
            <a:ext cx="705668" cy="92333"/>
          </a:xfrm>
        </p:spPr>
        <p:txBody>
          <a:bodyPr tIns="0" bIns="0">
            <a:spAutoFit/>
          </a:bodyPr>
          <a:lstStyle>
            <a:lvl1pPr marL="0" indent="0">
              <a:buNone/>
              <a:defRPr sz="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8E2E8B9A-A1C1-487E-B994-4AB2FF9C8566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800670" y="4765093"/>
            <a:ext cx="705668" cy="8676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FC721A9D-E785-440E-95DC-C43602F5718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00670" y="5713544"/>
            <a:ext cx="705668" cy="92333"/>
          </a:xfrm>
        </p:spPr>
        <p:txBody>
          <a:bodyPr tIns="0" bIns="0">
            <a:spAutoFit/>
          </a:bodyPr>
          <a:lstStyle>
            <a:lvl1pPr marL="0" indent="0">
              <a:buNone/>
              <a:defRPr sz="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7F9E3EEF-8792-4480-9BAB-0DB5DE28602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045858" y="4765093"/>
            <a:ext cx="705668" cy="8676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A247299B-95F3-4681-A05A-BE8E36E1F38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045366" y="5713544"/>
            <a:ext cx="705668" cy="92333"/>
          </a:xfrm>
        </p:spPr>
        <p:txBody>
          <a:bodyPr tIns="0" bIns="0">
            <a:spAutoFit/>
          </a:bodyPr>
          <a:lstStyle>
            <a:lvl1pPr marL="0" indent="0">
              <a:buNone/>
              <a:defRPr sz="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3C253DE7-21FD-466F-806C-2BBA1CF44262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267815" y="4765093"/>
            <a:ext cx="705668" cy="8676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FC273BCC-4A69-43AC-A3FD-CBF08161EA5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67815" y="5713544"/>
            <a:ext cx="705668" cy="92333"/>
          </a:xfrm>
        </p:spPr>
        <p:txBody>
          <a:bodyPr tIns="0" bIns="0">
            <a:spAutoFit/>
          </a:bodyPr>
          <a:lstStyle>
            <a:lvl1pPr marL="0" indent="0">
              <a:buNone/>
              <a:defRPr sz="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3CA25341-97BF-4F4E-AA97-4E3EA551C588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6898" y="4759561"/>
            <a:ext cx="705668" cy="8676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0594A4CD-84D1-45F1-B2BB-4132E4059A9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36898" y="5713544"/>
            <a:ext cx="705668" cy="92333"/>
          </a:xfrm>
        </p:spPr>
        <p:txBody>
          <a:bodyPr tIns="0" bIns="0">
            <a:spAutoFit/>
          </a:bodyPr>
          <a:lstStyle>
            <a:lvl1pPr marL="0" indent="0">
              <a:buNone/>
              <a:defRPr sz="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F2954F2-261F-4DA0-A843-6BE71804B1DC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28201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536" y="86400"/>
            <a:ext cx="8229600" cy="694800"/>
          </a:xfrm>
        </p:spPr>
        <p:txBody>
          <a:bodyPr/>
          <a:lstStyle>
            <a:lvl1pPr>
              <a:defRPr>
                <a:solidFill>
                  <a:srgbClr val="005F86"/>
                </a:solidFill>
              </a:defRPr>
            </a:lvl1pPr>
          </a:lstStyle>
          <a:p>
            <a:r>
              <a:rPr lang="en-US" altLang="en-US" dirty="0"/>
              <a:t>Click to edit slide title</a:t>
            </a:r>
            <a:endParaRPr lang="en-US" dirty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3" y="649703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6089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GB" dirty="0">
              <a:solidFill>
                <a:srgbClr val="97999B"/>
              </a:solidFill>
              <a:cs typeface="Arial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D13F1EA-8214-45D7-95B9-E9DC867DC7B9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F8222A0-B1AD-4F88-8F8E-7F8B8F73F889}"/>
              </a:ext>
            </a:extLst>
          </p:cNvPr>
          <p:cNvGrpSpPr/>
          <p:nvPr userDrawn="1"/>
        </p:nvGrpSpPr>
        <p:grpSpPr>
          <a:xfrm>
            <a:off x="1343427" y="270945"/>
            <a:ext cx="6457146" cy="6458400"/>
            <a:chOff x="1997691" y="178389"/>
            <a:chExt cx="4913153" cy="5486482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5162175-61B8-4B4E-9FEC-65E43A96C419}"/>
                </a:ext>
              </a:extLst>
            </p:cNvPr>
            <p:cNvSpPr txBox="1"/>
            <p:nvPr userDrawn="1"/>
          </p:nvSpPr>
          <p:spPr>
            <a:xfrm>
              <a:off x="4425821" y="1556054"/>
              <a:ext cx="2485023" cy="41088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35000" b="1" dirty="0">
                  <a:solidFill>
                    <a:srgbClr val="279989"/>
                  </a:solidFill>
                  <a:latin typeface="+mj-lt"/>
                </a:rPr>
                <a:t>A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EF3975D-187D-4B5D-BD91-B51666D374FE}"/>
                </a:ext>
              </a:extLst>
            </p:cNvPr>
            <p:cNvSpPr txBox="1"/>
            <p:nvPr userDrawn="1"/>
          </p:nvSpPr>
          <p:spPr>
            <a:xfrm>
              <a:off x="3393529" y="178389"/>
              <a:ext cx="2485023" cy="41088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35000" b="1" dirty="0">
                  <a:solidFill>
                    <a:srgbClr val="007681"/>
                  </a:solidFill>
                  <a:latin typeface="+mj-lt"/>
                </a:rPr>
                <a:t>&amp;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BF7530B-843D-47B0-9BE3-93390E4D3784}"/>
                </a:ext>
              </a:extLst>
            </p:cNvPr>
            <p:cNvSpPr txBox="1"/>
            <p:nvPr userDrawn="1"/>
          </p:nvSpPr>
          <p:spPr>
            <a:xfrm>
              <a:off x="1997691" y="901749"/>
              <a:ext cx="2485023" cy="41088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35000" b="1" dirty="0">
                  <a:solidFill>
                    <a:srgbClr val="005F86"/>
                  </a:solidFill>
                  <a:latin typeface="+mj-lt"/>
                </a:rPr>
                <a:t>Q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46623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er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1212" y="2815295"/>
            <a:ext cx="2691070" cy="1602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9218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U.S._ThriveUpp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 Diagonal Corner Rectangle 10"/>
          <p:cNvSpPr/>
          <p:nvPr userDrawn="1"/>
        </p:nvSpPr>
        <p:spPr>
          <a:xfrm>
            <a:off x="6607175" y="2112433"/>
            <a:ext cx="2332038" cy="3843867"/>
          </a:xfrm>
          <a:prstGeom prst="round2DiagRect">
            <a:avLst>
              <a:gd name="adj1" fmla="val 0"/>
              <a:gd name="adj2" fmla="val 7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3" name="Round Diagonal Corner Rectangle 12"/>
          <p:cNvSpPr/>
          <p:nvPr userDrawn="1"/>
        </p:nvSpPr>
        <p:spPr>
          <a:xfrm>
            <a:off x="6602414" y="518585"/>
            <a:ext cx="1597025" cy="1452033"/>
          </a:xfrm>
          <a:prstGeom prst="round2DiagRect">
            <a:avLst>
              <a:gd name="adj1" fmla="val 1506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228600"/>
            <a:ext cx="6501384" cy="5715000"/>
          </a:xfrm>
          <a:prstGeom prst="rect">
            <a:avLst/>
          </a:prstGeom>
          <a:solidFill>
            <a:schemeClr val="tx2"/>
          </a:solidFill>
        </p:spPr>
        <p:txBody>
          <a:bodyPr rtlCol="0" anchor="ctr">
            <a:noAutofit/>
          </a:bodyPr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lvl1pPr>
          </a:lstStyle>
          <a:p>
            <a:pPr lvl="0"/>
            <a:r>
              <a:rPr lang="en-US" noProof="0" dirty="0"/>
              <a:t>Double click icon to add pictur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pPr>
            <a:r>
              <a:rPr lang="en-US" noProof="0" dirty="0"/>
              <a:t>This version of the thrive® window is for use in th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pPr>
            <a:r>
              <a:rPr lang="en-US" noProof="0" dirty="0"/>
              <a:t> U.S. &amp; India only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875979" y="2691162"/>
            <a:ext cx="1782142" cy="1491721"/>
          </a:xfrm>
        </p:spPr>
        <p:txBody>
          <a:bodyPr t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cover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75979" y="4206241"/>
            <a:ext cx="1782142" cy="1317625"/>
          </a:xfrm>
        </p:spPr>
        <p:txBody>
          <a:bodyPr tIns="0" bIns="0">
            <a:noAutofit/>
          </a:bodyPr>
          <a:lstStyle>
            <a:lvl1pPr marL="0" indent="0">
              <a:buFontTx/>
              <a:buNone/>
              <a:defRPr sz="1400" b="0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cover sub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775157" y="6511173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</a:t>
            </a:r>
            <a:r>
              <a:rPr lang="en-US" altLang="en-US" sz="700" baseline="30000" dirty="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sp>
        <p:nvSpPr>
          <p:cNvPr id="12" name="Flowchart: Document 10">
            <a:extLst>
              <a:ext uri="{FF2B5EF4-FFF2-40B4-BE49-F238E27FC236}">
                <a16:creationId xmlns:a16="http://schemas.microsoft.com/office/drawing/2014/main" id="{6ACF92DC-E46C-D843-A0C2-7C72937E4DB5}"/>
              </a:ext>
            </a:extLst>
          </p:cNvPr>
          <p:cNvSpPr/>
          <p:nvPr userDrawn="1"/>
        </p:nvSpPr>
        <p:spPr>
          <a:xfrm>
            <a:off x="-2068082" y="189706"/>
            <a:ext cx="2068082" cy="2501456"/>
          </a:xfrm>
          <a:prstGeom prst="flowChartDocument">
            <a:avLst/>
          </a:prstGeom>
          <a:solidFill>
            <a:srgbClr val="FF00FF"/>
          </a:solidFill>
          <a:ln>
            <a:solidFill>
              <a:srgbClr val="CC00CC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Note: This version of the  thrive</a:t>
            </a:r>
            <a:r>
              <a:rPr lang="en-US" altLang="en-US" sz="1000" b="1" baseline="30000" dirty="0">
                <a:latin typeface="Arial" pitchFamily="34" charset="0"/>
                <a:cs typeface="Arial" pitchFamily="34" charset="0"/>
              </a:rPr>
              <a:t>®</a:t>
            </a:r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 window is for use in the U.S. &amp; India only.</a:t>
            </a:r>
          </a:p>
          <a:p>
            <a:pPr eaLnBrk="1" hangingPunct="1"/>
            <a:endParaRPr lang="en-US" altLang="en-US" sz="1000" b="1" dirty="0">
              <a:latin typeface="Arial" pitchFamily="34" charset="0"/>
              <a:cs typeface="Arial" pitchFamily="34" charset="0"/>
            </a:endParaRPr>
          </a:p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Changing image:</a:t>
            </a:r>
          </a:p>
          <a:p>
            <a:pPr eaLnBrk="1" hangingPunct="1"/>
            <a:endParaRPr lang="en-US" altLang="en-US" sz="1000" dirty="0">
              <a:latin typeface="Arial" pitchFamily="34" charset="0"/>
              <a:cs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elete current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ouble click icon to select new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Right-click photo image and click on “Send To Back” to </a:t>
            </a:r>
            <a:r>
              <a:rPr lang="en-US" altLang="en-US" sz="1000" u="sng" dirty="0">
                <a:latin typeface="Arial" pitchFamily="34" charset="0"/>
                <a:cs typeface="Arial" pitchFamily="34" charset="0"/>
              </a:rPr>
              <a:t>ensure photo image is behind the “</a:t>
            </a:r>
            <a:r>
              <a:rPr lang="en-US" altLang="ja-JP" sz="1000" i="1" u="sng" dirty="0">
                <a:latin typeface="Arial" pitchFamily="34" charset="0"/>
                <a:cs typeface="Arial" pitchFamily="34" charset="0"/>
              </a:rPr>
              <a:t>thrive</a:t>
            </a:r>
            <a:r>
              <a:rPr lang="en-US" altLang="en-US" sz="1000" u="sng" dirty="0">
                <a:latin typeface="Arial" pitchFamily="34" charset="0"/>
                <a:cs typeface="Arial" pitchFamily="34" charset="0"/>
              </a:rPr>
              <a:t>”</a:t>
            </a:r>
            <a:r>
              <a:rPr lang="en-US" altLang="ja-JP" sz="1000" u="sng" dirty="0">
                <a:latin typeface="Arial" pitchFamily="34" charset="0"/>
                <a:cs typeface="Arial" pitchFamily="34" charset="0"/>
              </a:rPr>
              <a:t> graphic</a:t>
            </a:r>
            <a:endParaRPr lang="en-US" altLang="en-US" sz="1000" u="sng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Picture 3">
            <a:extLst>
              <a:ext uri="{FF2B5EF4-FFF2-40B4-BE49-F238E27FC236}">
                <a16:creationId xmlns:a16="http://schemas.microsoft.com/office/drawing/2014/main" id="{CAE1A779-DD91-2D44-B089-A501CCEFE5C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49428"/>
            <a:ext cx="7939037" cy="112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1935935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PhotoMosaic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 Diagonal Corner Rectangle 8"/>
          <p:cNvSpPr/>
          <p:nvPr/>
        </p:nvSpPr>
        <p:spPr>
          <a:xfrm>
            <a:off x="6607175" y="2112433"/>
            <a:ext cx="2332038" cy="3843867"/>
          </a:xfrm>
          <a:prstGeom prst="round2DiagRect">
            <a:avLst>
              <a:gd name="adj1" fmla="val 0"/>
              <a:gd name="adj2" fmla="val 7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0" name="Round Diagonal Corner Rectangle 9"/>
          <p:cNvSpPr/>
          <p:nvPr/>
        </p:nvSpPr>
        <p:spPr>
          <a:xfrm>
            <a:off x="6602414" y="518585"/>
            <a:ext cx="1597025" cy="1452033"/>
          </a:xfrm>
          <a:prstGeom prst="round2DiagRect">
            <a:avLst>
              <a:gd name="adj1" fmla="val 1506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 hasCustomPrompt="1"/>
          </p:nvPr>
        </p:nvSpPr>
        <p:spPr>
          <a:xfrm>
            <a:off x="188092" y="228600"/>
            <a:ext cx="6318504" cy="5715000"/>
          </a:xfrm>
          <a:prstGeom prst="round2DiagRect">
            <a:avLst>
              <a:gd name="adj1" fmla="val 3724"/>
              <a:gd name="adj2" fmla="val 0"/>
            </a:avLst>
          </a:prstGeom>
          <a:solidFill>
            <a:schemeClr val="tx2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Double click icon to add picture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868962" y="2697480"/>
            <a:ext cx="1806059" cy="1485403"/>
          </a:xfrm>
        </p:spPr>
        <p:txBody>
          <a:bodyPr t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cover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68963" y="4206241"/>
            <a:ext cx="1806059" cy="1317625"/>
          </a:xfrm>
        </p:spPr>
        <p:txBody>
          <a:bodyPr tIns="0" bIns="0">
            <a:noAutofit/>
          </a:bodyPr>
          <a:lstStyle>
            <a:lvl1pPr marL="0" indent="0">
              <a:buFontTx/>
              <a:buNone/>
              <a:defRPr sz="1400" b="0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cover subtitl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775157" y="6511173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</a:t>
            </a:r>
            <a:r>
              <a:rPr lang="en-US" altLang="en-US" sz="700" baseline="30000" dirty="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sp>
        <p:nvSpPr>
          <p:cNvPr id="12" name="Flowchart: Document 10">
            <a:extLst>
              <a:ext uri="{FF2B5EF4-FFF2-40B4-BE49-F238E27FC236}">
                <a16:creationId xmlns:a16="http://schemas.microsoft.com/office/drawing/2014/main" id="{E6631F1C-F965-814E-9D5A-F4733C03282E}"/>
              </a:ext>
            </a:extLst>
          </p:cNvPr>
          <p:cNvSpPr/>
          <p:nvPr/>
        </p:nvSpPr>
        <p:spPr>
          <a:xfrm>
            <a:off x="-1811708" y="189706"/>
            <a:ext cx="1811708" cy="1503363"/>
          </a:xfrm>
          <a:prstGeom prst="flowChartDocument">
            <a:avLst/>
          </a:prstGeom>
          <a:solidFill>
            <a:srgbClr val="FF00FF"/>
          </a:solidFill>
          <a:ln>
            <a:solidFill>
              <a:srgbClr val="CC00CC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Changing image:</a:t>
            </a:r>
          </a:p>
          <a:p>
            <a:pPr eaLnBrk="1" hangingPunct="1"/>
            <a:endParaRPr lang="en-US" altLang="en-US" sz="1000" dirty="0">
              <a:latin typeface="Arial" pitchFamily="34" charset="0"/>
              <a:cs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elete current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ouble click icon to select new image</a:t>
            </a:r>
          </a:p>
        </p:txBody>
      </p:sp>
      <p:sp>
        <p:nvSpPr>
          <p:cNvPr id="13" name="Round Diagonal Corner Rectangle 8">
            <a:extLst>
              <a:ext uri="{FF2B5EF4-FFF2-40B4-BE49-F238E27FC236}">
                <a16:creationId xmlns:a16="http://schemas.microsoft.com/office/drawing/2014/main" id="{1B62E0A5-77CF-4596-A147-418B879873E5}"/>
              </a:ext>
            </a:extLst>
          </p:cNvPr>
          <p:cNvSpPr/>
          <p:nvPr userDrawn="1"/>
        </p:nvSpPr>
        <p:spPr>
          <a:xfrm>
            <a:off x="6607175" y="2112433"/>
            <a:ext cx="2332038" cy="3843867"/>
          </a:xfrm>
          <a:prstGeom prst="round2DiagRect">
            <a:avLst>
              <a:gd name="adj1" fmla="val 0"/>
              <a:gd name="adj2" fmla="val 7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4" name="Round Diagonal Corner Rectangle 9">
            <a:extLst>
              <a:ext uri="{FF2B5EF4-FFF2-40B4-BE49-F238E27FC236}">
                <a16:creationId xmlns:a16="http://schemas.microsoft.com/office/drawing/2014/main" id="{A76B1D8E-6F6D-4F91-944F-B9AD56E7BC15}"/>
              </a:ext>
            </a:extLst>
          </p:cNvPr>
          <p:cNvSpPr/>
          <p:nvPr userDrawn="1"/>
        </p:nvSpPr>
        <p:spPr>
          <a:xfrm>
            <a:off x="6602414" y="518585"/>
            <a:ext cx="1597025" cy="1452033"/>
          </a:xfrm>
          <a:prstGeom prst="round2DiagRect">
            <a:avLst>
              <a:gd name="adj1" fmla="val 1506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E56448-1DD7-4791-AA35-7B1D9D4E6AA4}"/>
              </a:ext>
            </a:extLst>
          </p:cNvPr>
          <p:cNvSpPr txBox="1"/>
          <p:nvPr userDrawn="1"/>
        </p:nvSpPr>
        <p:spPr>
          <a:xfrm>
            <a:off x="2775157" y="6511173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</a:t>
            </a:r>
            <a:r>
              <a:rPr lang="en-US" altLang="en-US" sz="700" baseline="30000" dirty="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2B29439-B197-4F71-9E13-0711FE9803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sp>
        <p:nvSpPr>
          <p:cNvPr id="18" name="Flowchart: Document 10">
            <a:extLst>
              <a:ext uri="{FF2B5EF4-FFF2-40B4-BE49-F238E27FC236}">
                <a16:creationId xmlns:a16="http://schemas.microsoft.com/office/drawing/2014/main" id="{95E8671A-F6E5-4F8C-A073-93D235F6D284}"/>
              </a:ext>
            </a:extLst>
          </p:cNvPr>
          <p:cNvSpPr/>
          <p:nvPr userDrawn="1"/>
        </p:nvSpPr>
        <p:spPr>
          <a:xfrm>
            <a:off x="-1811708" y="189706"/>
            <a:ext cx="1811708" cy="1503363"/>
          </a:xfrm>
          <a:prstGeom prst="flowChartDocument">
            <a:avLst/>
          </a:prstGeom>
          <a:solidFill>
            <a:srgbClr val="FF00FF"/>
          </a:solidFill>
          <a:ln>
            <a:solidFill>
              <a:srgbClr val="CC00CC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Changing image:</a:t>
            </a:r>
          </a:p>
          <a:p>
            <a:pPr eaLnBrk="1" hangingPunct="1"/>
            <a:endParaRPr lang="en-US" altLang="en-US" sz="1000" dirty="0">
              <a:latin typeface="Arial" pitchFamily="34" charset="0"/>
              <a:cs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elete current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ouble click icon to select new image</a:t>
            </a:r>
          </a:p>
        </p:txBody>
      </p:sp>
    </p:spTree>
    <p:extLst>
      <p:ext uri="{BB962C8B-B14F-4D97-AF65-F5344CB8AC3E}">
        <p14:creationId xmlns:p14="http://schemas.microsoft.com/office/powerpoint/2010/main" val="25793343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PhotoBlock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 Diagonal Corner Rectangle 8"/>
          <p:cNvSpPr/>
          <p:nvPr/>
        </p:nvSpPr>
        <p:spPr>
          <a:xfrm>
            <a:off x="6607175" y="2112433"/>
            <a:ext cx="2332038" cy="3843867"/>
          </a:xfrm>
          <a:prstGeom prst="round2DiagRect">
            <a:avLst>
              <a:gd name="adj1" fmla="val 0"/>
              <a:gd name="adj2" fmla="val 7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0" name="Round Diagonal Corner Rectangle 9"/>
          <p:cNvSpPr/>
          <p:nvPr/>
        </p:nvSpPr>
        <p:spPr>
          <a:xfrm>
            <a:off x="6602414" y="518585"/>
            <a:ext cx="1597025" cy="1452033"/>
          </a:xfrm>
          <a:prstGeom prst="round2DiagRect">
            <a:avLst>
              <a:gd name="adj1" fmla="val 1506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 hasCustomPrompt="1"/>
          </p:nvPr>
        </p:nvSpPr>
        <p:spPr>
          <a:xfrm>
            <a:off x="-1" y="228600"/>
            <a:ext cx="6501384" cy="5715000"/>
          </a:xfrm>
          <a:prstGeom prst="rect">
            <a:avLst/>
          </a:prstGeom>
          <a:solidFill>
            <a:schemeClr val="tx2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dirty="0"/>
              <a:t>Double click icon to add picture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868962" y="2691162"/>
            <a:ext cx="1813075" cy="1491721"/>
          </a:xfrm>
        </p:spPr>
        <p:txBody>
          <a:bodyPr t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cover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68962" y="4206241"/>
            <a:ext cx="1813075" cy="1317625"/>
          </a:xfrm>
        </p:spPr>
        <p:txBody>
          <a:bodyPr tIns="0" bIns="0">
            <a:noAutofit/>
          </a:bodyPr>
          <a:lstStyle>
            <a:lvl1pPr marL="0" indent="0">
              <a:buFontTx/>
              <a:buNone/>
              <a:defRPr sz="1400" b="0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cover subtitl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775157" y="6511173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</a:t>
            </a:r>
            <a:r>
              <a:rPr lang="en-US" altLang="en-US" sz="700" baseline="30000" dirty="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sp>
        <p:nvSpPr>
          <p:cNvPr id="12" name="Flowchart: Document 10">
            <a:extLst>
              <a:ext uri="{FF2B5EF4-FFF2-40B4-BE49-F238E27FC236}">
                <a16:creationId xmlns:a16="http://schemas.microsoft.com/office/drawing/2014/main" id="{8292C422-B919-D841-9863-5310E96A5536}"/>
              </a:ext>
            </a:extLst>
          </p:cNvPr>
          <p:cNvSpPr/>
          <p:nvPr/>
        </p:nvSpPr>
        <p:spPr>
          <a:xfrm>
            <a:off x="-1811708" y="189706"/>
            <a:ext cx="1811708" cy="1503363"/>
          </a:xfrm>
          <a:prstGeom prst="flowChartDocument">
            <a:avLst/>
          </a:prstGeom>
          <a:solidFill>
            <a:srgbClr val="FF00FF"/>
          </a:solidFill>
          <a:ln>
            <a:solidFill>
              <a:srgbClr val="CC00CC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Changing image:</a:t>
            </a:r>
          </a:p>
          <a:p>
            <a:pPr eaLnBrk="1" hangingPunct="1"/>
            <a:endParaRPr lang="en-US" altLang="en-US" sz="1000" dirty="0">
              <a:latin typeface="Arial" pitchFamily="34" charset="0"/>
              <a:cs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elete current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ouble click icon to select new image</a:t>
            </a:r>
          </a:p>
        </p:txBody>
      </p:sp>
      <p:sp>
        <p:nvSpPr>
          <p:cNvPr id="13" name="Round Diagonal Corner Rectangle 8">
            <a:extLst>
              <a:ext uri="{FF2B5EF4-FFF2-40B4-BE49-F238E27FC236}">
                <a16:creationId xmlns:a16="http://schemas.microsoft.com/office/drawing/2014/main" id="{D9ABD733-735D-422C-8796-81196AFCA988}"/>
              </a:ext>
            </a:extLst>
          </p:cNvPr>
          <p:cNvSpPr/>
          <p:nvPr userDrawn="1"/>
        </p:nvSpPr>
        <p:spPr>
          <a:xfrm>
            <a:off x="6607175" y="2112433"/>
            <a:ext cx="2332038" cy="3843867"/>
          </a:xfrm>
          <a:prstGeom prst="round2DiagRect">
            <a:avLst>
              <a:gd name="adj1" fmla="val 0"/>
              <a:gd name="adj2" fmla="val 7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4" name="Round Diagonal Corner Rectangle 9">
            <a:extLst>
              <a:ext uri="{FF2B5EF4-FFF2-40B4-BE49-F238E27FC236}">
                <a16:creationId xmlns:a16="http://schemas.microsoft.com/office/drawing/2014/main" id="{6E565A66-17E5-45B9-BE10-F3CBA6F1E83E}"/>
              </a:ext>
            </a:extLst>
          </p:cNvPr>
          <p:cNvSpPr/>
          <p:nvPr userDrawn="1"/>
        </p:nvSpPr>
        <p:spPr>
          <a:xfrm>
            <a:off x="6602414" y="518585"/>
            <a:ext cx="1597025" cy="1452033"/>
          </a:xfrm>
          <a:prstGeom prst="round2DiagRect">
            <a:avLst>
              <a:gd name="adj1" fmla="val 1506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E84393C-732B-4011-9E7A-869DB4133192}"/>
              </a:ext>
            </a:extLst>
          </p:cNvPr>
          <p:cNvSpPr txBox="1"/>
          <p:nvPr userDrawn="1"/>
        </p:nvSpPr>
        <p:spPr>
          <a:xfrm>
            <a:off x="2775157" y="6511173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</a:t>
            </a:r>
            <a:r>
              <a:rPr lang="en-US" altLang="en-US" sz="700" baseline="30000" dirty="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02E5742-A563-43FA-83E1-86B397F162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sp>
        <p:nvSpPr>
          <p:cNvPr id="19" name="Flowchart: Document 10">
            <a:extLst>
              <a:ext uri="{FF2B5EF4-FFF2-40B4-BE49-F238E27FC236}">
                <a16:creationId xmlns:a16="http://schemas.microsoft.com/office/drawing/2014/main" id="{224486EC-3EDA-463A-A733-7D8EC4DA9740}"/>
              </a:ext>
            </a:extLst>
          </p:cNvPr>
          <p:cNvSpPr/>
          <p:nvPr userDrawn="1"/>
        </p:nvSpPr>
        <p:spPr>
          <a:xfrm>
            <a:off x="-1811708" y="189706"/>
            <a:ext cx="1811708" cy="1503363"/>
          </a:xfrm>
          <a:prstGeom prst="flowChartDocument">
            <a:avLst/>
          </a:prstGeom>
          <a:solidFill>
            <a:srgbClr val="FF00FF"/>
          </a:solidFill>
          <a:ln>
            <a:solidFill>
              <a:srgbClr val="CC00CC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Changing image:</a:t>
            </a:r>
          </a:p>
          <a:p>
            <a:pPr eaLnBrk="1" hangingPunct="1"/>
            <a:endParaRPr lang="en-US" altLang="en-US" sz="1000" dirty="0">
              <a:latin typeface="Arial" pitchFamily="34" charset="0"/>
              <a:cs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elete current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ouble click icon to select new image</a:t>
            </a:r>
          </a:p>
        </p:txBody>
      </p:sp>
    </p:spTree>
    <p:extLst>
      <p:ext uri="{BB962C8B-B14F-4D97-AF65-F5344CB8AC3E}">
        <p14:creationId xmlns:p14="http://schemas.microsoft.com/office/powerpoint/2010/main" val="196761265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_U.S._ThriveUpp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 Diagonal Corner Rectangle 10"/>
          <p:cNvSpPr/>
          <p:nvPr/>
        </p:nvSpPr>
        <p:spPr>
          <a:xfrm>
            <a:off x="6607175" y="2112433"/>
            <a:ext cx="2332038" cy="3843867"/>
          </a:xfrm>
          <a:prstGeom prst="round2DiagRect">
            <a:avLst>
              <a:gd name="adj1" fmla="val 0"/>
              <a:gd name="adj2" fmla="val 7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3" name="Round Diagonal Corner Rectangle 12"/>
          <p:cNvSpPr/>
          <p:nvPr/>
        </p:nvSpPr>
        <p:spPr>
          <a:xfrm>
            <a:off x="6602414" y="518585"/>
            <a:ext cx="1597025" cy="1452033"/>
          </a:xfrm>
          <a:prstGeom prst="round2DiagRect">
            <a:avLst>
              <a:gd name="adj1" fmla="val 1506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228600"/>
            <a:ext cx="6501384" cy="5715000"/>
          </a:xfrm>
          <a:prstGeom prst="rect">
            <a:avLst/>
          </a:prstGeom>
          <a:solidFill>
            <a:schemeClr val="tx2"/>
          </a:solidFill>
        </p:spPr>
        <p:txBody>
          <a:bodyPr rtlCol="0" anchor="ctr">
            <a:noAutofit/>
          </a:bodyPr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lvl1pPr>
          </a:lstStyle>
          <a:p>
            <a:pPr lvl="0"/>
            <a:r>
              <a:rPr lang="en-US" noProof="0" dirty="0"/>
              <a:t>Double click icon to add pictur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pPr>
            <a:r>
              <a:rPr lang="en-US" noProof="0" dirty="0"/>
              <a:t>This version of the thrive® window is for use in th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pPr>
            <a:r>
              <a:rPr lang="en-US" noProof="0" dirty="0"/>
              <a:t> U.S. &amp; India only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875979" y="2691162"/>
            <a:ext cx="1782142" cy="1491721"/>
          </a:xfrm>
        </p:spPr>
        <p:txBody>
          <a:bodyPr t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cover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75979" y="4206241"/>
            <a:ext cx="1782142" cy="1317625"/>
          </a:xfrm>
        </p:spPr>
        <p:txBody>
          <a:bodyPr tIns="0" bIns="0">
            <a:noAutofit/>
          </a:bodyPr>
          <a:lstStyle>
            <a:lvl1pPr marL="0" indent="0">
              <a:buFontTx/>
              <a:buNone/>
              <a:defRPr sz="1400" b="0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cover subtitl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775157" y="6511173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</a:t>
            </a:r>
            <a:r>
              <a:rPr lang="en-US" altLang="en-US" sz="700" baseline="30000" dirty="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sp>
        <p:nvSpPr>
          <p:cNvPr id="12" name="Flowchart: Document 10">
            <a:extLst>
              <a:ext uri="{FF2B5EF4-FFF2-40B4-BE49-F238E27FC236}">
                <a16:creationId xmlns:a16="http://schemas.microsoft.com/office/drawing/2014/main" id="{6ACF92DC-E46C-D843-A0C2-7C72937E4DB5}"/>
              </a:ext>
            </a:extLst>
          </p:cNvPr>
          <p:cNvSpPr/>
          <p:nvPr/>
        </p:nvSpPr>
        <p:spPr>
          <a:xfrm>
            <a:off x="-2068082" y="189706"/>
            <a:ext cx="2068082" cy="2501456"/>
          </a:xfrm>
          <a:prstGeom prst="flowChartDocument">
            <a:avLst/>
          </a:prstGeom>
          <a:solidFill>
            <a:srgbClr val="FF00FF"/>
          </a:solidFill>
          <a:ln>
            <a:solidFill>
              <a:srgbClr val="CC00CC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Note: This version of the  thrive</a:t>
            </a:r>
            <a:r>
              <a:rPr lang="en-US" altLang="en-US" sz="1000" b="1" baseline="30000" dirty="0">
                <a:latin typeface="Arial" pitchFamily="34" charset="0"/>
                <a:cs typeface="Arial" pitchFamily="34" charset="0"/>
              </a:rPr>
              <a:t>®</a:t>
            </a:r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 window is for use in the U.S. &amp; India only.</a:t>
            </a:r>
          </a:p>
          <a:p>
            <a:pPr eaLnBrk="1" hangingPunct="1"/>
            <a:endParaRPr lang="en-US" altLang="en-US" sz="1000" b="1" dirty="0">
              <a:latin typeface="Arial" pitchFamily="34" charset="0"/>
              <a:cs typeface="Arial" pitchFamily="34" charset="0"/>
            </a:endParaRPr>
          </a:p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Changing image:</a:t>
            </a:r>
          </a:p>
          <a:p>
            <a:pPr eaLnBrk="1" hangingPunct="1"/>
            <a:endParaRPr lang="en-US" altLang="en-US" sz="1000" dirty="0">
              <a:latin typeface="Arial" pitchFamily="34" charset="0"/>
              <a:cs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elete current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ouble click icon to select new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Right-click photo image and click on “Send To Back” to </a:t>
            </a:r>
            <a:r>
              <a:rPr lang="en-US" altLang="en-US" sz="1000" u="sng" dirty="0">
                <a:latin typeface="Arial" pitchFamily="34" charset="0"/>
                <a:cs typeface="Arial" pitchFamily="34" charset="0"/>
              </a:rPr>
              <a:t>ensure photo image is behind the “</a:t>
            </a:r>
            <a:r>
              <a:rPr lang="en-US" altLang="ja-JP" sz="1000" i="1" u="sng" dirty="0">
                <a:latin typeface="Arial" pitchFamily="34" charset="0"/>
                <a:cs typeface="Arial" pitchFamily="34" charset="0"/>
              </a:rPr>
              <a:t>thrive</a:t>
            </a:r>
            <a:r>
              <a:rPr lang="en-US" altLang="en-US" sz="1000" u="sng" dirty="0">
                <a:latin typeface="Arial" pitchFamily="34" charset="0"/>
                <a:cs typeface="Arial" pitchFamily="34" charset="0"/>
              </a:rPr>
              <a:t>”</a:t>
            </a:r>
            <a:r>
              <a:rPr lang="en-US" altLang="ja-JP" sz="1000" u="sng" dirty="0">
                <a:latin typeface="Arial" pitchFamily="34" charset="0"/>
                <a:cs typeface="Arial" pitchFamily="34" charset="0"/>
              </a:rPr>
              <a:t> graphic</a:t>
            </a:r>
            <a:endParaRPr lang="en-US" altLang="en-US" sz="1000" u="sng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Picture 3">
            <a:extLst>
              <a:ext uri="{FF2B5EF4-FFF2-40B4-BE49-F238E27FC236}">
                <a16:creationId xmlns:a16="http://schemas.microsoft.com/office/drawing/2014/main" id="{CAE1A779-DD91-2D44-B089-A501CCEFE5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49428"/>
            <a:ext cx="7939037" cy="112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ound Diagonal Corner Rectangle 10">
            <a:extLst>
              <a:ext uri="{FF2B5EF4-FFF2-40B4-BE49-F238E27FC236}">
                <a16:creationId xmlns:a16="http://schemas.microsoft.com/office/drawing/2014/main" id="{A774243B-1F32-4A3D-A7F9-8F73DC28A3FA}"/>
              </a:ext>
            </a:extLst>
          </p:cNvPr>
          <p:cNvSpPr/>
          <p:nvPr userDrawn="1"/>
        </p:nvSpPr>
        <p:spPr>
          <a:xfrm>
            <a:off x="6607175" y="2112433"/>
            <a:ext cx="2332038" cy="3843867"/>
          </a:xfrm>
          <a:prstGeom prst="round2DiagRect">
            <a:avLst>
              <a:gd name="adj1" fmla="val 0"/>
              <a:gd name="adj2" fmla="val 7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6" name="Round Diagonal Corner Rectangle 12">
            <a:extLst>
              <a:ext uri="{FF2B5EF4-FFF2-40B4-BE49-F238E27FC236}">
                <a16:creationId xmlns:a16="http://schemas.microsoft.com/office/drawing/2014/main" id="{B9A4FB66-84D4-47E2-8AC0-1098DAB3366C}"/>
              </a:ext>
            </a:extLst>
          </p:cNvPr>
          <p:cNvSpPr/>
          <p:nvPr userDrawn="1"/>
        </p:nvSpPr>
        <p:spPr>
          <a:xfrm>
            <a:off x="6602414" y="518585"/>
            <a:ext cx="1597025" cy="1452033"/>
          </a:xfrm>
          <a:prstGeom prst="round2DiagRect">
            <a:avLst>
              <a:gd name="adj1" fmla="val 1506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BE9817D-7D50-4368-A30C-290AE108282F}"/>
              </a:ext>
            </a:extLst>
          </p:cNvPr>
          <p:cNvSpPr txBox="1"/>
          <p:nvPr userDrawn="1"/>
        </p:nvSpPr>
        <p:spPr>
          <a:xfrm>
            <a:off x="2775157" y="6511173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</a:t>
            </a:r>
            <a:r>
              <a:rPr lang="en-US" altLang="en-US" sz="700" baseline="30000" dirty="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6151791-88D6-475F-A5AF-5BF507A0AD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sp>
        <p:nvSpPr>
          <p:cNvPr id="22" name="Flowchart: Document 10">
            <a:extLst>
              <a:ext uri="{FF2B5EF4-FFF2-40B4-BE49-F238E27FC236}">
                <a16:creationId xmlns:a16="http://schemas.microsoft.com/office/drawing/2014/main" id="{C77A0B7E-1E14-4AFF-8DEB-52B6ED6A8243}"/>
              </a:ext>
            </a:extLst>
          </p:cNvPr>
          <p:cNvSpPr/>
          <p:nvPr userDrawn="1"/>
        </p:nvSpPr>
        <p:spPr>
          <a:xfrm>
            <a:off x="-2068082" y="189706"/>
            <a:ext cx="2068082" cy="2501456"/>
          </a:xfrm>
          <a:prstGeom prst="flowChartDocument">
            <a:avLst/>
          </a:prstGeom>
          <a:solidFill>
            <a:srgbClr val="FF00FF"/>
          </a:solidFill>
          <a:ln>
            <a:solidFill>
              <a:srgbClr val="CC00CC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Note: This version of the  thrive</a:t>
            </a:r>
            <a:r>
              <a:rPr lang="en-US" altLang="en-US" sz="1000" b="1" baseline="30000" dirty="0">
                <a:latin typeface="Arial" pitchFamily="34" charset="0"/>
                <a:cs typeface="Arial" pitchFamily="34" charset="0"/>
              </a:rPr>
              <a:t>®</a:t>
            </a:r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 window is for use in the U.S. &amp; India only.</a:t>
            </a:r>
          </a:p>
          <a:p>
            <a:pPr eaLnBrk="1" hangingPunct="1"/>
            <a:endParaRPr lang="en-US" altLang="en-US" sz="1000" b="1" dirty="0">
              <a:latin typeface="Arial" pitchFamily="34" charset="0"/>
              <a:cs typeface="Arial" pitchFamily="34" charset="0"/>
            </a:endParaRPr>
          </a:p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Changing image:</a:t>
            </a:r>
          </a:p>
          <a:p>
            <a:pPr eaLnBrk="1" hangingPunct="1"/>
            <a:endParaRPr lang="en-US" altLang="en-US" sz="1000" dirty="0">
              <a:latin typeface="Arial" pitchFamily="34" charset="0"/>
              <a:cs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elete current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ouble click icon to select new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Right-click photo image and click on “Send To Back” to </a:t>
            </a:r>
            <a:r>
              <a:rPr lang="en-US" altLang="en-US" sz="1000" u="sng" dirty="0">
                <a:latin typeface="Arial" pitchFamily="34" charset="0"/>
                <a:cs typeface="Arial" pitchFamily="34" charset="0"/>
              </a:rPr>
              <a:t>ensure photo image is behind the “</a:t>
            </a:r>
            <a:r>
              <a:rPr lang="en-US" altLang="ja-JP" sz="1000" i="1" u="sng" dirty="0">
                <a:latin typeface="Arial" pitchFamily="34" charset="0"/>
                <a:cs typeface="Arial" pitchFamily="34" charset="0"/>
              </a:rPr>
              <a:t>thrive</a:t>
            </a:r>
            <a:r>
              <a:rPr lang="en-US" altLang="en-US" sz="1000" u="sng" dirty="0">
                <a:latin typeface="Arial" pitchFamily="34" charset="0"/>
                <a:cs typeface="Arial" pitchFamily="34" charset="0"/>
              </a:rPr>
              <a:t>”</a:t>
            </a:r>
            <a:r>
              <a:rPr lang="en-US" altLang="ja-JP" sz="1000" u="sng" dirty="0">
                <a:latin typeface="Arial" pitchFamily="34" charset="0"/>
                <a:cs typeface="Arial" pitchFamily="34" charset="0"/>
              </a:rPr>
              <a:t> graphic</a:t>
            </a:r>
            <a:endParaRPr lang="en-US" altLang="en-US" sz="1000" u="sng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3" name="Picture 3">
            <a:extLst>
              <a:ext uri="{FF2B5EF4-FFF2-40B4-BE49-F238E27FC236}">
                <a16:creationId xmlns:a16="http://schemas.microsoft.com/office/drawing/2014/main" id="{52E6F9DA-2B3F-4F5A-AEC3-31DC9A408C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49428"/>
            <a:ext cx="7939037" cy="112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69477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_U.S._ThriveLow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 Diagonal Corner Rectangle 13"/>
          <p:cNvSpPr/>
          <p:nvPr/>
        </p:nvSpPr>
        <p:spPr>
          <a:xfrm>
            <a:off x="6607175" y="1782233"/>
            <a:ext cx="2332038" cy="3469591"/>
          </a:xfrm>
          <a:prstGeom prst="round2DiagRect">
            <a:avLst>
              <a:gd name="adj1" fmla="val 0"/>
              <a:gd name="adj2" fmla="val 7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228600"/>
            <a:ext cx="6501384" cy="5715000"/>
          </a:xfrm>
          <a:prstGeom prst="rect">
            <a:avLst/>
          </a:prstGeom>
          <a:solidFill>
            <a:schemeClr val="tx2"/>
          </a:solidFill>
        </p:spPr>
        <p:txBody>
          <a:bodyPr rtlCol="0" anchor="ctr">
            <a:noAutofit/>
          </a:bodyPr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lvl1pPr>
          </a:lstStyle>
          <a:p>
            <a:pPr lvl="0"/>
            <a:r>
              <a:rPr lang="en-US" noProof="0" dirty="0"/>
              <a:t>Double click icon to add pictur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pPr>
            <a:r>
              <a:rPr lang="en-US" noProof="0" dirty="0"/>
              <a:t>This version of the thrive® window is for U.S. use only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890012" y="2017528"/>
            <a:ext cx="1792027" cy="1491721"/>
          </a:xfrm>
        </p:spPr>
        <p:txBody>
          <a:bodyPr t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cover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90012" y="3532606"/>
            <a:ext cx="1792027" cy="1317625"/>
          </a:xfrm>
        </p:spPr>
        <p:txBody>
          <a:bodyPr tIns="0" bIns="0">
            <a:noAutofit/>
          </a:bodyPr>
          <a:lstStyle>
            <a:lvl1pPr marL="0" indent="0">
              <a:buFontTx/>
              <a:buNone/>
              <a:defRPr sz="1400" b="0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cover subtitl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775157" y="6511173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 </a:t>
            </a:r>
            <a:r>
              <a:rPr lang="en-US" altLang="en-US" sz="700" baseline="30000" dirty="0">
                <a:solidFill>
                  <a:srgbClr val="959595"/>
                </a:solidFill>
              </a:rPr>
              <a:t>Cargill, Incorporated. All rights reserved.</a:t>
            </a:r>
          </a:p>
        </p:txBody>
      </p:sp>
      <p:sp>
        <p:nvSpPr>
          <p:cNvPr id="18" name="Round Diagonal Corner Rectangle 17"/>
          <p:cNvSpPr/>
          <p:nvPr/>
        </p:nvSpPr>
        <p:spPr>
          <a:xfrm>
            <a:off x="6602414" y="232833"/>
            <a:ext cx="1597025" cy="1416051"/>
          </a:xfrm>
          <a:prstGeom prst="round2DiagRect">
            <a:avLst>
              <a:gd name="adj1" fmla="val 1506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sp>
        <p:nvSpPr>
          <p:cNvPr id="19" name="Flowchart: Document 10">
            <a:extLst>
              <a:ext uri="{FF2B5EF4-FFF2-40B4-BE49-F238E27FC236}">
                <a16:creationId xmlns:a16="http://schemas.microsoft.com/office/drawing/2014/main" id="{EB55920E-10EC-3A42-B355-E2608BEB3235}"/>
              </a:ext>
            </a:extLst>
          </p:cNvPr>
          <p:cNvSpPr/>
          <p:nvPr/>
        </p:nvSpPr>
        <p:spPr>
          <a:xfrm>
            <a:off x="-2068082" y="189706"/>
            <a:ext cx="2068082" cy="2501456"/>
          </a:xfrm>
          <a:prstGeom prst="flowChartDocument">
            <a:avLst/>
          </a:prstGeom>
          <a:solidFill>
            <a:srgbClr val="FF00FF"/>
          </a:solidFill>
          <a:ln>
            <a:solidFill>
              <a:srgbClr val="CC00CC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Note: This version of the thrive® window is for U.S. use only.</a:t>
            </a:r>
          </a:p>
          <a:p>
            <a:pPr eaLnBrk="1" hangingPunct="1"/>
            <a:endParaRPr lang="en-US" altLang="en-US" sz="1000" b="1" dirty="0">
              <a:latin typeface="Arial" pitchFamily="34" charset="0"/>
              <a:cs typeface="Arial" pitchFamily="34" charset="0"/>
            </a:endParaRPr>
          </a:p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Changing image:</a:t>
            </a:r>
          </a:p>
          <a:p>
            <a:pPr eaLnBrk="1" hangingPunct="1"/>
            <a:endParaRPr lang="en-US" altLang="en-US" sz="1000" dirty="0">
              <a:latin typeface="Arial" pitchFamily="34" charset="0"/>
              <a:cs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elete current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ouble click icon to select new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Right-click photo image and click on “Send To Back” to </a:t>
            </a:r>
            <a:r>
              <a:rPr lang="en-US" altLang="en-US" sz="1000" u="sng" dirty="0">
                <a:latin typeface="Arial" pitchFamily="34" charset="0"/>
                <a:cs typeface="Arial" pitchFamily="34" charset="0"/>
              </a:rPr>
              <a:t>ensure photo image is behind the “</a:t>
            </a:r>
            <a:r>
              <a:rPr lang="en-US" altLang="ja-JP" sz="1000" i="1" u="sng" dirty="0">
                <a:latin typeface="Arial" pitchFamily="34" charset="0"/>
                <a:cs typeface="Arial" pitchFamily="34" charset="0"/>
              </a:rPr>
              <a:t>thrive</a:t>
            </a:r>
            <a:r>
              <a:rPr lang="en-US" altLang="en-US" sz="1000" u="sng" dirty="0">
                <a:latin typeface="Arial" pitchFamily="34" charset="0"/>
                <a:cs typeface="Arial" pitchFamily="34" charset="0"/>
              </a:rPr>
              <a:t>”</a:t>
            </a:r>
            <a:r>
              <a:rPr lang="en-US" altLang="ja-JP" sz="1000" u="sng" dirty="0">
                <a:latin typeface="Arial" pitchFamily="34" charset="0"/>
                <a:cs typeface="Arial" pitchFamily="34" charset="0"/>
              </a:rPr>
              <a:t> graphic</a:t>
            </a:r>
            <a:endParaRPr lang="en-US" altLang="en-US" sz="1000" u="sng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2910FB0-09A6-284F-BC93-033A36E65A53}"/>
              </a:ext>
            </a:extLst>
          </p:cNvPr>
          <p:cNvGrpSpPr/>
          <p:nvPr/>
        </p:nvGrpSpPr>
        <p:grpSpPr>
          <a:xfrm>
            <a:off x="-3301" y="5037927"/>
            <a:ext cx="6568749" cy="1008161"/>
            <a:chOff x="-3301" y="5037927"/>
            <a:chExt cx="6568749" cy="1008161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F8E7921-27F3-9646-90AC-444E3C3468CD}"/>
                </a:ext>
              </a:extLst>
            </p:cNvPr>
            <p:cNvSpPr/>
            <p:nvPr/>
          </p:nvSpPr>
          <p:spPr>
            <a:xfrm>
              <a:off x="5946775" y="5256903"/>
              <a:ext cx="618673" cy="7891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135A30E9-7E90-7F4B-8878-E2D11215CD1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3301" y="5037927"/>
              <a:ext cx="6002110" cy="915576"/>
            </a:xfrm>
            <a:prstGeom prst="rect">
              <a:avLst/>
            </a:prstGeom>
          </p:spPr>
        </p:pic>
      </p:grpSp>
      <p:sp>
        <p:nvSpPr>
          <p:cNvPr id="13" name="Round Diagonal Corner Rectangle 13">
            <a:extLst>
              <a:ext uri="{FF2B5EF4-FFF2-40B4-BE49-F238E27FC236}">
                <a16:creationId xmlns:a16="http://schemas.microsoft.com/office/drawing/2014/main" id="{FD7760CE-0EFE-43A1-B387-2D05EAFE657C}"/>
              </a:ext>
            </a:extLst>
          </p:cNvPr>
          <p:cNvSpPr/>
          <p:nvPr userDrawn="1"/>
        </p:nvSpPr>
        <p:spPr>
          <a:xfrm>
            <a:off x="6607175" y="1782233"/>
            <a:ext cx="2332038" cy="3469591"/>
          </a:xfrm>
          <a:prstGeom prst="round2DiagRect">
            <a:avLst>
              <a:gd name="adj1" fmla="val 0"/>
              <a:gd name="adj2" fmla="val 7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3EE821F-DE83-46CD-BCC2-72BDD302696D}"/>
              </a:ext>
            </a:extLst>
          </p:cNvPr>
          <p:cNvSpPr txBox="1"/>
          <p:nvPr userDrawn="1"/>
        </p:nvSpPr>
        <p:spPr>
          <a:xfrm>
            <a:off x="2775157" y="6511173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 </a:t>
            </a:r>
            <a:r>
              <a:rPr lang="en-US" altLang="en-US" sz="700" baseline="30000" dirty="0">
                <a:solidFill>
                  <a:srgbClr val="959595"/>
                </a:solidFill>
              </a:rPr>
              <a:t>Cargill, Incorporated. All rights reserved.</a:t>
            </a:r>
          </a:p>
        </p:txBody>
      </p:sp>
      <p:sp>
        <p:nvSpPr>
          <p:cNvPr id="24" name="Round Diagonal Corner Rectangle 17">
            <a:extLst>
              <a:ext uri="{FF2B5EF4-FFF2-40B4-BE49-F238E27FC236}">
                <a16:creationId xmlns:a16="http://schemas.microsoft.com/office/drawing/2014/main" id="{2C214D1E-5097-46E6-B708-DCEAFA1B9127}"/>
              </a:ext>
            </a:extLst>
          </p:cNvPr>
          <p:cNvSpPr/>
          <p:nvPr userDrawn="1"/>
        </p:nvSpPr>
        <p:spPr>
          <a:xfrm>
            <a:off x="6602414" y="232833"/>
            <a:ext cx="1597025" cy="1416051"/>
          </a:xfrm>
          <a:prstGeom prst="round2DiagRect">
            <a:avLst>
              <a:gd name="adj1" fmla="val 1506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1EE04AC4-ACE1-474A-A914-7CBA999F88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sp>
        <p:nvSpPr>
          <p:cNvPr id="26" name="Flowchart: Document 10">
            <a:extLst>
              <a:ext uri="{FF2B5EF4-FFF2-40B4-BE49-F238E27FC236}">
                <a16:creationId xmlns:a16="http://schemas.microsoft.com/office/drawing/2014/main" id="{38B5EF31-847C-4C60-882E-315008739FC8}"/>
              </a:ext>
            </a:extLst>
          </p:cNvPr>
          <p:cNvSpPr/>
          <p:nvPr userDrawn="1"/>
        </p:nvSpPr>
        <p:spPr>
          <a:xfrm>
            <a:off x="-2068082" y="189706"/>
            <a:ext cx="2068082" cy="2501456"/>
          </a:xfrm>
          <a:prstGeom prst="flowChartDocument">
            <a:avLst/>
          </a:prstGeom>
          <a:solidFill>
            <a:srgbClr val="FF00FF"/>
          </a:solidFill>
          <a:ln>
            <a:solidFill>
              <a:srgbClr val="CC00CC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Note: This version of the thrive® window is for U.S. use only.</a:t>
            </a:r>
          </a:p>
          <a:p>
            <a:pPr eaLnBrk="1" hangingPunct="1"/>
            <a:endParaRPr lang="en-US" altLang="en-US" sz="1000" b="1" dirty="0">
              <a:latin typeface="Arial" pitchFamily="34" charset="0"/>
              <a:cs typeface="Arial" pitchFamily="34" charset="0"/>
            </a:endParaRPr>
          </a:p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Changing image:</a:t>
            </a:r>
          </a:p>
          <a:p>
            <a:pPr eaLnBrk="1" hangingPunct="1"/>
            <a:endParaRPr lang="en-US" altLang="en-US" sz="1000" dirty="0">
              <a:latin typeface="Arial" pitchFamily="34" charset="0"/>
              <a:cs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elete current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ouble click icon to select new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Right-click photo image and click on “Send To Back” to </a:t>
            </a:r>
            <a:r>
              <a:rPr lang="en-US" altLang="en-US" sz="1000" u="sng" dirty="0">
                <a:latin typeface="Arial" pitchFamily="34" charset="0"/>
                <a:cs typeface="Arial" pitchFamily="34" charset="0"/>
              </a:rPr>
              <a:t>ensure photo image is behind the “</a:t>
            </a:r>
            <a:r>
              <a:rPr lang="en-US" altLang="ja-JP" sz="1000" i="1" u="sng" dirty="0">
                <a:latin typeface="Arial" pitchFamily="34" charset="0"/>
                <a:cs typeface="Arial" pitchFamily="34" charset="0"/>
              </a:rPr>
              <a:t>thrive</a:t>
            </a:r>
            <a:r>
              <a:rPr lang="en-US" altLang="en-US" sz="1000" u="sng" dirty="0">
                <a:latin typeface="Arial" pitchFamily="34" charset="0"/>
                <a:cs typeface="Arial" pitchFamily="34" charset="0"/>
              </a:rPr>
              <a:t>”</a:t>
            </a:r>
            <a:r>
              <a:rPr lang="en-US" altLang="ja-JP" sz="1000" u="sng" dirty="0">
                <a:latin typeface="Arial" pitchFamily="34" charset="0"/>
                <a:cs typeface="Arial" pitchFamily="34" charset="0"/>
              </a:rPr>
              <a:t> graphic</a:t>
            </a:r>
            <a:endParaRPr lang="en-US" altLang="en-US" sz="1000" u="sng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BE616A6-6EBF-4792-8376-347D4CF1EF78}"/>
              </a:ext>
            </a:extLst>
          </p:cNvPr>
          <p:cNvGrpSpPr/>
          <p:nvPr userDrawn="1"/>
        </p:nvGrpSpPr>
        <p:grpSpPr>
          <a:xfrm>
            <a:off x="-3301" y="5037927"/>
            <a:ext cx="6568749" cy="1008161"/>
            <a:chOff x="-3301" y="5037927"/>
            <a:chExt cx="6568749" cy="1008161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066BB8C-1634-496B-87B8-26AD62C79F89}"/>
                </a:ext>
              </a:extLst>
            </p:cNvPr>
            <p:cNvSpPr/>
            <p:nvPr/>
          </p:nvSpPr>
          <p:spPr>
            <a:xfrm>
              <a:off x="5946775" y="5256903"/>
              <a:ext cx="618673" cy="7891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1C70BFD-E2FC-4E92-A085-5EC79E6324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3301" y="5037927"/>
              <a:ext cx="6002110" cy="9155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327975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non-U.S._ThriveUpp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 Diagonal Corner Rectangle 10"/>
          <p:cNvSpPr/>
          <p:nvPr/>
        </p:nvSpPr>
        <p:spPr>
          <a:xfrm>
            <a:off x="6607175" y="2112433"/>
            <a:ext cx="2332038" cy="3843867"/>
          </a:xfrm>
          <a:prstGeom prst="round2DiagRect">
            <a:avLst>
              <a:gd name="adj1" fmla="val 0"/>
              <a:gd name="adj2" fmla="val 7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3" name="Round Diagonal Corner Rectangle 12"/>
          <p:cNvSpPr/>
          <p:nvPr/>
        </p:nvSpPr>
        <p:spPr>
          <a:xfrm>
            <a:off x="6602414" y="518585"/>
            <a:ext cx="1597025" cy="1452033"/>
          </a:xfrm>
          <a:prstGeom prst="round2DiagRect">
            <a:avLst>
              <a:gd name="adj1" fmla="val 1506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228600"/>
            <a:ext cx="6501384" cy="5715000"/>
          </a:xfrm>
          <a:prstGeom prst="rect">
            <a:avLst/>
          </a:prstGeom>
          <a:solidFill>
            <a:schemeClr val="tx2"/>
          </a:solidFill>
        </p:spPr>
        <p:txBody>
          <a:bodyPr rtlCol="0" anchor="ctr">
            <a:noAutofit/>
          </a:bodyPr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lvl1pPr>
          </a:lstStyle>
          <a:p>
            <a:pPr lvl="0"/>
            <a:r>
              <a:rPr lang="en-US" noProof="0" dirty="0"/>
              <a:t>Double click icon to add picture</a:t>
            </a:r>
          </a:p>
          <a:p>
            <a:pPr lvl="0"/>
            <a:r>
              <a:rPr lang="en-US" noProof="0" dirty="0"/>
              <a:t>This version of the thrive™ window is for use</a:t>
            </a:r>
          </a:p>
          <a:p>
            <a:pPr lvl="0"/>
            <a:r>
              <a:rPr lang="en-US" noProof="0" dirty="0"/>
              <a:t> by countries outside the U.S. &amp; India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875979" y="2691162"/>
            <a:ext cx="1782142" cy="1491721"/>
          </a:xfrm>
        </p:spPr>
        <p:txBody>
          <a:bodyPr t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cover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75979" y="4206241"/>
            <a:ext cx="1782142" cy="1317625"/>
          </a:xfrm>
        </p:spPr>
        <p:txBody>
          <a:bodyPr tIns="0" bIns="0">
            <a:noAutofit/>
          </a:bodyPr>
          <a:lstStyle>
            <a:lvl1pPr marL="0" indent="0">
              <a:buFontTx/>
              <a:buNone/>
              <a:defRPr sz="1400" b="0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cover subtitl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775157" y="6511173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</a:t>
            </a:r>
            <a:r>
              <a:rPr lang="en-US" altLang="en-US" sz="700" baseline="30000" dirty="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pic>
        <p:nvPicPr>
          <p:cNvPr id="16" name="Picture 3" descr="thriveWindow_lower_sm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979" t="81619" r="30688"/>
          <a:stretch>
            <a:fillRect/>
          </a:stretch>
        </p:blipFill>
        <p:spPr bwMode="auto">
          <a:xfrm>
            <a:off x="-8404" y="61070"/>
            <a:ext cx="7958138" cy="112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Flowchart: Document 10">
            <a:extLst>
              <a:ext uri="{FF2B5EF4-FFF2-40B4-BE49-F238E27FC236}">
                <a16:creationId xmlns:a16="http://schemas.microsoft.com/office/drawing/2014/main" id="{6ACF92DC-E46C-D843-A0C2-7C72937E4DB5}"/>
              </a:ext>
            </a:extLst>
          </p:cNvPr>
          <p:cNvSpPr/>
          <p:nvPr/>
        </p:nvSpPr>
        <p:spPr>
          <a:xfrm>
            <a:off x="-2068082" y="189706"/>
            <a:ext cx="2068082" cy="2501456"/>
          </a:xfrm>
          <a:prstGeom prst="flowChartDocument">
            <a:avLst/>
          </a:prstGeom>
          <a:solidFill>
            <a:srgbClr val="FF00FF"/>
          </a:solidFill>
          <a:ln>
            <a:solidFill>
              <a:srgbClr val="CC00CC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Note: This version of the </a:t>
            </a:r>
            <a:r>
              <a:rPr lang="en-US" altLang="en-US" sz="1000" b="1" dirty="0" err="1">
                <a:latin typeface="Arial" pitchFamily="34" charset="0"/>
                <a:cs typeface="Arial" pitchFamily="34" charset="0"/>
              </a:rPr>
              <a:t>thrive</a:t>
            </a:r>
            <a:r>
              <a:rPr lang="en-US" altLang="en-US" sz="1000" b="1" baseline="30000" dirty="0" err="1">
                <a:latin typeface="Arial" pitchFamily="34" charset="0"/>
                <a:cs typeface="Arial" pitchFamily="34" charset="0"/>
              </a:rPr>
              <a:t>TM</a:t>
            </a:r>
            <a:r>
              <a:rPr lang="en-US" altLang="en-US" sz="1000" b="1" baseline="30000" dirty="0">
                <a:latin typeface="Arial" pitchFamily="34" charset="0"/>
                <a:cs typeface="Arial" pitchFamily="34" charset="0"/>
              </a:rPr>
              <a:t> </a:t>
            </a:r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 window is for use by </a:t>
            </a:r>
            <a:r>
              <a:rPr lang="en-US" altLang="en-US" sz="1000" b="1" dirty="0" err="1">
                <a:latin typeface="Arial" pitchFamily="34" charset="0"/>
                <a:cs typeface="Arial" pitchFamily="34" charset="0"/>
              </a:rPr>
              <a:t>by</a:t>
            </a:r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 countries outside the U.S. &amp; India.</a:t>
            </a:r>
          </a:p>
          <a:p>
            <a:pPr eaLnBrk="1" hangingPunct="1"/>
            <a:endParaRPr lang="en-US" altLang="en-US" sz="1000" b="1" dirty="0">
              <a:latin typeface="Arial" pitchFamily="34" charset="0"/>
              <a:cs typeface="Arial" pitchFamily="34" charset="0"/>
            </a:endParaRPr>
          </a:p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Changing image:</a:t>
            </a:r>
          </a:p>
          <a:p>
            <a:pPr eaLnBrk="1" hangingPunct="1"/>
            <a:endParaRPr lang="en-US" altLang="en-US" sz="1000" dirty="0">
              <a:latin typeface="Arial" pitchFamily="34" charset="0"/>
              <a:cs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elete current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ouble click icon to select new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Right-click photo image and click on “Send To Back” to </a:t>
            </a:r>
            <a:r>
              <a:rPr lang="en-US" altLang="en-US" sz="1000" u="sng" dirty="0">
                <a:latin typeface="Arial" pitchFamily="34" charset="0"/>
                <a:cs typeface="Arial" pitchFamily="34" charset="0"/>
              </a:rPr>
              <a:t>ensure photo image is behind the “</a:t>
            </a:r>
            <a:r>
              <a:rPr lang="en-US" altLang="ja-JP" sz="1000" i="1" u="sng" dirty="0">
                <a:latin typeface="Arial" pitchFamily="34" charset="0"/>
                <a:cs typeface="Arial" pitchFamily="34" charset="0"/>
              </a:rPr>
              <a:t>thrive</a:t>
            </a:r>
            <a:r>
              <a:rPr lang="en-US" altLang="en-US" sz="1000" u="sng" dirty="0">
                <a:latin typeface="Arial" pitchFamily="34" charset="0"/>
                <a:cs typeface="Arial" pitchFamily="34" charset="0"/>
              </a:rPr>
              <a:t>”</a:t>
            </a:r>
            <a:r>
              <a:rPr lang="en-US" altLang="ja-JP" sz="1000" u="sng" dirty="0">
                <a:latin typeface="Arial" pitchFamily="34" charset="0"/>
                <a:cs typeface="Arial" pitchFamily="34" charset="0"/>
              </a:rPr>
              <a:t> graphic</a:t>
            </a:r>
            <a:endParaRPr lang="en-US" altLang="en-US" sz="1000" u="sng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ound Diagonal Corner Rectangle 10">
            <a:extLst>
              <a:ext uri="{FF2B5EF4-FFF2-40B4-BE49-F238E27FC236}">
                <a16:creationId xmlns:a16="http://schemas.microsoft.com/office/drawing/2014/main" id="{92AA57D0-CBDC-457C-AB1F-3B3C8B044949}"/>
              </a:ext>
            </a:extLst>
          </p:cNvPr>
          <p:cNvSpPr/>
          <p:nvPr userDrawn="1"/>
        </p:nvSpPr>
        <p:spPr>
          <a:xfrm>
            <a:off x="6607175" y="2112433"/>
            <a:ext cx="2332038" cy="3843867"/>
          </a:xfrm>
          <a:prstGeom prst="round2DiagRect">
            <a:avLst>
              <a:gd name="adj1" fmla="val 0"/>
              <a:gd name="adj2" fmla="val 7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8" name="Round Diagonal Corner Rectangle 12">
            <a:extLst>
              <a:ext uri="{FF2B5EF4-FFF2-40B4-BE49-F238E27FC236}">
                <a16:creationId xmlns:a16="http://schemas.microsoft.com/office/drawing/2014/main" id="{9C0A5BA5-30EF-4A6E-A105-33A4E53D0203}"/>
              </a:ext>
            </a:extLst>
          </p:cNvPr>
          <p:cNvSpPr/>
          <p:nvPr userDrawn="1"/>
        </p:nvSpPr>
        <p:spPr>
          <a:xfrm>
            <a:off x="6602414" y="518585"/>
            <a:ext cx="1597025" cy="1452033"/>
          </a:xfrm>
          <a:prstGeom prst="round2DiagRect">
            <a:avLst>
              <a:gd name="adj1" fmla="val 1506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6842458-4AC7-4BDE-9D94-5D861B5FF02D}"/>
              </a:ext>
            </a:extLst>
          </p:cNvPr>
          <p:cNvSpPr txBox="1"/>
          <p:nvPr userDrawn="1"/>
        </p:nvSpPr>
        <p:spPr>
          <a:xfrm>
            <a:off x="2775157" y="6511173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</a:t>
            </a:r>
            <a:r>
              <a:rPr lang="en-US" altLang="en-US" sz="700" baseline="30000" dirty="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CDD0FB1-4D45-4271-B346-6C105B72BD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pic>
        <p:nvPicPr>
          <p:cNvPr id="22" name="Picture 3" descr="thriveWindow_lower_sm.png">
            <a:extLst>
              <a:ext uri="{FF2B5EF4-FFF2-40B4-BE49-F238E27FC236}">
                <a16:creationId xmlns:a16="http://schemas.microsoft.com/office/drawing/2014/main" id="{31DD01A8-8559-4B5C-9F31-D6F88273B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979" t="81619" r="30688"/>
          <a:stretch>
            <a:fillRect/>
          </a:stretch>
        </p:blipFill>
        <p:spPr bwMode="auto">
          <a:xfrm>
            <a:off x="-8404" y="61070"/>
            <a:ext cx="7958138" cy="112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Flowchart: Document 10">
            <a:extLst>
              <a:ext uri="{FF2B5EF4-FFF2-40B4-BE49-F238E27FC236}">
                <a16:creationId xmlns:a16="http://schemas.microsoft.com/office/drawing/2014/main" id="{307C4B77-2901-4EB7-9527-F5ACD6551964}"/>
              </a:ext>
            </a:extLst>
          </p:cNvPr>
          <p:cNvSpPr/>
          <p:nvPr userDrawn="1"/>
        </p:nvSpPr>
        <p:spPr>
          <a:xfrm>
            <a:off x="-2068082" y="189706"/>
            <a:ext cx="2068082" cy="2501456"/>
          </a:xfrm>
          <a:prstGeom prst="flowChartDocument">
            <a:avLst/>
          </a:prstGeom>
          <a:solidFill>
            <a:srgbClr val="FF00FF"/>
          </a:solidFill>
          <a:ln>
            <a:solidFill>
              <a:srgbClr val="CC00CC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Note: This version of the </a:t>
            </a:r>
            <a:r>
              <a:rPr lang="en-US" altLang="en-US" sz="1000" b="1" dirty="0" err="1">
                <a:latin typeface="Arial" pitchFamily="34" charset="0"/>
                <a:cs typeface="Arial" pitchFamily="34" charset="0"/>
              </a:rPr>
              <a:t>thrive</a:t>
            </a:r>
            <a:r>
              <a:rPr lang="en-US" altLang="en-US" sz="1000" b="1" baseline="30000" dirty="0" err="1">
                <a:latin typeface="Arial" pitchFamily="34" charset="0"/>
                <a:cs typeface="Arial" pitchFamily="34" charset="0"/>
              </a:rPr>
              <a:t>TM</a:t>
            </a:r>
            <a:r>
              <a:rPr lang="en-US" altLang="en-US" sz="1000" b="1" baseline="30000" dirty="0">
                <a:latin typeface="Arial" pitchFamily="34" charset="0"/>
                <a:cs typeface="Arial" pitchFamily="34" charset="0"/>
              </a:rPr>
              <a:t> </a:t>
            </a:r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 window is for use by </a:t>
            </a:r>
            <a:r>
              <a:rPr lang="en-US" altLang="en-US" sz="1000" b="1" dirty="0" err="1">
                <a:latin typeface="Arial" pitchFamily="34" charset="0"/>
                <a:cs typeface="Arial" pitchFamily="34" charset="0"/>
              </a:rPr>
              <a:t>by</a:t>
            </a:r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 countries outside the U.S. &amp; India.</a:t>
            </a:r>
          </a:p>
          <a:p>
            <a:pPr eaLnBrk="1" hangingPunct="1"/>
            <a:endParaRPr lang="en-US" altLang="en-US" sz="1000" b="1" dirty="0">
              <a:latin typeface="Arial" pitchFamily="34" charset="0"/>
              <a:cs typeface="Arial" pitchFamily="34" charset="0"/>
            </a:endParaRPr>
          </a:p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Changing image:</a:t>
            </a:r>
          </a:p>
          <a:p>
            <a:pPr eaLnBrk="1" hangingPunct="1"/>
            <a:endParaRPr lang="en-US" altLang="en-US" sz="1000" dirty="0">
              <a:latin typeface="Arial" pitchFamily="34" charset="0"/>
              <a:cs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elete current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ouble click icon to select new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Right-click photo image and click on “Send To Back” to </a:t>
            </a:r>
            <a:r>
              <a:rPr lang="en-US" altLang="en-US" sz="1000" u="sng" dirty="0">
                <a:latin typeface="Arial" pitchFamily="34" charset="0"/>
                <a:cs typeface="Arial" pitchFamily="34" charset="0"/>
              </a:rPr>
              <a:t>ensure photo image is behind the “</a:t>
            </a:r>
            <a:r>
              <a:rPr lang="en-US" altLang="ja-JP" sz="1000" i="1" u="sng" dirty="0">
                <a:latin typeface="Arial" pitchFamily="34" charset="0"/>
                <a:cs typeface="Arial" pitchFamily="34" charset="0"/>
              </a:rPr>
              <a:t>thrive</a:t>
            </a:r>
            <a:r>
              <a:rPr lang="en-US" altLang="en-US" sz="1000" u="sng" dirty="0">
                <a:latin typeface="Arial" pitchFamily="34" charset="0"/>
                <a:cs typeface="Arial" pitchFamily="34" charset="0"/>
              </a:rPr>
              <a:t>”</a:t>
            </a:r>
            <a:r>
              <a:rPr lang="en-US" altLang="ja-JP" sz="1000" u="sng" dirty="0">
                <a:latin typeface="Arial" pitchFamily="34" charset="0"/>
                <a:cs typeface="Arial" pitchFamily="34" charset="0"/>
              </a:rPr>
              <a:t> graphic</a:t>
            </a:r>
            <a:endParaRPr lang="en-US" altLang="en-US" sz="1000" u="sng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00993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non-U.S._ThriveLow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 Diagonal Corner Rectangle 13"/>
          <p:cNvSpPr/>
          <p:nvPr/>
        </p:nvSpPr>
        <p:spPr>
          <a:xfrm>
            <a:off x="6607175" y="1782233"/>
            <a:ext cx="2332038" cy="3469591"/>
          </a:xfrm>
          <a:prstGeom prst="round2DiagRect">
            <a:avLst>
              <a:gd name="adj1" fmla="val 0"/>
              <a:gd name="adj2" fmla="val 7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228600"/>
            <a:ext cx="6501384" cy="5715000"/>
          </a:xfrm>
          <a:prstGeom prst="rect">
            <a:avLst/>
          </a:prstGeom>
          <a:solidFill>
            <a:schemeClr val="tx2"/>
          </a:solidFill>
        </p:spPr>
        <p:txBody>
          <a:bodyPr rtlCol="0" anchor="ctr">
            <a:noAutofit/>
          </a:bodyPr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lvl1pPr>
          </a:lstStyle>
          <a:p>
            <a:pPr lvl="0"/>
            <a:r>
              <a:rPr lang="en-US" noProof="0" dirty="0"/>
              <a:t>Double click icon to add pictur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pPr>
            <a:r>
              <a:rPr lang="en-US" noProof="0" dirty="0"/>
              <a:t>This version of the thrive™ window is for us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pPr>
            <a:r>
              <a:rPr lang="en-US" noProof="0" dirty="0"/>
              <a:t> by all non-U.S. countries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890012" y="2017528"/>
            <a:ext cx="1792027" cy="1491721"/>
          </a:xfrm>
        </p:spPr>
        <p:txBody>
          <a:bodyPr t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cover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90012" y="3532606"/>
            <a:ext cx="1792027" cy="1317625"/>
          </a:xfrm>
        </p:spPr>
        <p:txBody>
          <a:bodyPr tIns="0" bIns="0">
            <a:noAutofit/>
          </a:bodyPr>
          <a:lstStyle>
            <a:lvl1pPr marL="0" indent="0">
              <a:buFontTx/>
              <a:buNone/>
              <a:defRPr sz="1400" b="0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cover subtitl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775157" y="6511173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</a:t>
            </a:r>
            <a:r>
              <a:rPr lang="en-US" altLang="en-US" sz="700" baseline="30000" dirty="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sp>
        <p:nvSpPr>
          <p:cNvPr id="18" name="Round Diagonal Corner Rectangle 17"/>
          <p:cNvSpPr/>
          <p:nvPr/>
        </p:nvSpPr>
        <p:spPr>
          <a:xfrm>
            <a:off x="6602414" y="232833"/>
            <a:ext cx="1597025" cy="1416051"/>
          </a:xfrm>
          <a:prstGeom prst="round2DiagRect">
            <a:avLst>
              <a:gd name="adj1" fmla="val 1506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6002110" y="5244354"/>
            <a:ext cx="563338" cy="801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" descr="thriveWindow_upper_med.png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9"/>
          <a:stretch>
            <a:fillRect/>
          </a:stretch>
        </p:blipFill>
        <p:spPr bwMode="auto">
          <a:xfrm>
            <a:off x="0" y="5005388"/>
            <a:ext cx="6007100" cy="950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Flowchart: Document 10">
            <a:extLst>
              <a:ext uri="{FF2B5EF4-FFF2-40B4-BE49-F238E27FC236}">
                <a16:creationId xmlns:a16="http://schemas.microsoft.com/office/drawing/2014/main" id="{EB55920E-10EC-3A42-B355-E2608BEB3235}"/>
              </a:ext>
            </a:extLst>
          </p:cNvPr>
          <p:cNvSpPr/>
          <p:nvPr/>
        </p:nvSpPr>
        <p:spPr>
          <a:xfrm>
            <a:off x="-2068082" y="189706"/>
            <a:ext cx="2068082" cy="2501456"/>
          </a:xfrm>
          <a:prstGeom prst="flowChartDocument">
            <a:avLst/>
          </a:prstGeom>
          <a:solidFill>
            <a:srgbClr val="FF00FF"/>
          </a:solidFill>
          <a:ln>
            <a:solidFill>
              <a:srgbClr val="CC00CC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Note: This version of the </a:t>
            </a:r>
            <a:r>
              <a:rPr lang="en-US" altLang="en-US" sz="1000" b="1" dirty="0" err="1">
                <a:latin typeface="Arial" pitchFamily="34" charset="0"/>
                <a:cs typeface="Arial" pitchFamily="34" charset="0"/>
              </a:rPr>
              <a:t>thrive</a:t>
            </a:r>
            <a:r>
              <a:rPr lang="en-US" altLang="en-US" sz="1000" b="1" baseline="30000" dirty="0" err="1">
                <a:latin typeface="Arial" pitchFamily="34" charset="0"/>
                <a:cs typeface="Arial" pitchFamily="34" charset="0"/>
              </a:rPr>
              <a:t>TM</a:t>
            </a:r>
            <a:r>
              <a:rPr lang="en-US" altLang="en-US" sz="1000" b="1" baseline="30000" dirty="0">
                <a:latin typeface="Arial" pitchFamily="34" charset="0"/>
                <a:cs typeface="Arial" pitchFamily="34" charset="0"/>
              </a:rPr>
              <a:t> </a:t>
            </a:r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 window is for use by all non-U.S. countries.</a:t>
            </a:r>
          </a:p>
          <a:p>
            <a:pPr eaLnBrk="1" hangingPunct="1"/>
            <a:endParaRPr lang="en-US" altLang="en-US" sz="1000" b="1" dirty="0">
              <a:latin typeface="Arial" pitchFamily="34" charset="0"/>
              <a:cs typeface="Arial" pitchFamily="34" charset="0"/>
            </a:endParaRPr>
          </a:p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Changing image:</a:t>
            </a:r>
          </a:p>
          <a:p>
            <a:pPr eaLnBrk="1" hangingPunct="1"/>
            <a:endParaRPr lang="en-US" altLang="en-US" sz="1000" dirty="0">
              <a:latin typeface="Arial" pitchFamily="34" charset="0"/>
              <a:cs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elete current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ouble click icon to select new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Right-click photo image and click on “Send To Back” to </a:t>
            </a:r>
            <a:r>
              <a:rPr lang="en-US" altLang="en-US" sz="1000" u="sng" dirty="0">
                <a:latin typeface="Arial" pitchFamily="34" charset="0"/>
                <a:cs typeface="Arial" pitchFamily="34" charset="0"/>
              </a:rPr>
              <a:t>ensure photo image is behind the “</a:t>
            </a:r>
            <a:r>
              <a:rPr lang="en-US" altLang="ja-JP" sz="1000" i="1" u="sng" dirty="0">
                <a:latin typeface="Arial" pitchFamily="34" charset="0"/>
                <a:cs typeface="Arial" pitchFamily="34" charset="0"/>
              </a:rPr>
              <a:t>thrive</a:t>
            </a:r>
            <a:r>
              <a:rPr lang="en-US" altLang="en-US" sz="1000" u="sng" dirty="0">
                <a:latin typeface="Arial" pitchFamily="34" charset="0"/>
                <a:cs typeface="Arial" pitchFamily="34" charset="0"/>
              </a:rPr>
              <a:t>”</a:t>
            </a:r>
            <a:r>
              <a:rPr lang="en-US" altLang="ja-JP" sz="1000" u="sng" dirty="0">
                <a:latin typeface="Arial" pitchFamily="34" charset="0"/>
                <a:cs typeface="Arial" pitchFamily="34" charset="0"/>
              </a:rPr>
              <a:t> graphic</a:t>
            </a:r>
            <a:endParaRPr lang="en-US" altLang="en-US" sz="1000" u="sng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ound Diagonal Corner Rectangle 13">
            <a:extLst>
              <a:ext uri="{FF2B5EF4-FFF2-40B4-BE49-F238E27FC236}">
                <a16:creationId xmlns:a16="http://schemas.microsoft.com/office/drawing/2014/main" id="{CF60BE03-6731-4C10-B219-B2FABA6CAEB3}"/>
              </a:ext>
            </a:extLst>
          </p:cNvPr>
          <p:cNvSpPr/>
          <p:nvPr userDrawn="1"/>
        </p:nvSpPr>
        <p:spPr>
          <a:xfrm>
            <a:off x="6607175" y="1782233"/>
            <a:ext cx="2332038" cy="3469591"/>
          </a:xfrm>
          <a:prstGeom prst="round2DiagRect">
            <a:avLst>
              <a:gd name="adj1" fmla="val 0"/>
              <a:gd name="adj2" fmla="val 7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AAA27E5-45C7-4B09-81C3-8A089DC052E0}"/>
              </a:ext>
            </a:extLst>
          </p:cNvPr>
          <p:cNvSpPr txBox="1"/>
          <p:nvPr userDrawn="1"/>
        </p:nvSpPr>
        <p:spPr>
          <a:xfrm>
            <a:off x="2775157" y="6511173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</a:t>
            </a:r>
            <a:r>
              <a:rPr lang="en-US" altLang="en-US" sz="700" baseline="30000" dirty="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sp>
        <p:nvSpPr>
          <p:cNvPr id="22" name="Round Diagonal Corner Rectangle 17">
            <a:extLst>
              <a:ext uri="{FF2B5EF4-FFF2-40B4-BE49-F238E27FC236}">
                <a16:creationId xmlns:a16="http://schemas.microsoft.com/office/drawing/2014/main" id="{EDC5FD24-F1F5-472A-BC06-8C9C31E5CA24}"/>
              </a:ext>
            </a:extLst>
          </p:cNvPr>
          <p:cNvSpPr/>
          <p:nvPr userDrawn="1"/>
        </p:nvSpPr>
        <p:spPr>
          <a:xfrm>
            <a:off x="6602414" y="232833"/>
            <a:ext cx="1597025" cy="1416051"/>
          </a:xfrm>
          <a:prstGeom prst="round2DiagRect">
            <a:avLst>
              <a:gd name="adj1" fmla="val 1506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FC538369-12F0-47D3-9912-892CD55DAD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1580EB55-43AB-45FC-AC00-7F02205C542F}"/>
              </a:ext>
            </a:extLst>
          </p:cNvPr>
          <p:cNvSpPr/>
          <p:nvPr userDrawn="1"/>
        </p:nvSpPr>
        <p:spPr>
          <a:xfrm>
            <a:off x="6002110" y="5244354"/>
            <a:ext cx="563338" cy="801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5" name="Picture 1" descr="thriveWindow_upper_med.png">
            <a:extLst>
              <a:ext uri="{FF2B5EF4-FFF2-40B4-BE49-F238E27FC236}">
                <a16:creationId xmlns:a16="http://schemas.microsoft.com/office/drawing/2014/main" id="{A936F507-4F96-4FB7-AE40-88DC0AD3F02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9"/>
          <a:stretch>
            <a:fillRect/>
          </a:stretch>
        </p:blipFill>
        <p:spPr bwMode="auto">
          <a:xfrm>
            <a:off x="0" y="5005388"/>
            <a:ext cx="6007100" cy="950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Flowchart: Document 10">
            <a:extLst>
              <a:ext uri="{FF2B5EF4-FFF2-40B4-BE49-F238E27FC236}">
                <a16:creationId xmlns:a16="http://schemas.microsoft.com/office/drawing/2014/main" id="{6B8FAC97-B840-4DCB-9B17-7CEB7E8F3812}"/>
              </a:ext>
            </a:extLst>
          </p:cNvPr>
          <p:cNvSpPr/>
          <p:nvPr userDrawn="1"/>
        </p:nvSpPr>
        <p:spPr>
          <a:xfrm>
            <a:off x="-2068082" y="189706"/>
            <a:ext cx="2068082" cy="2501456"/>
          </a:xfrm>
          <a:prstGeom prst="flowChartDocument">
            <a:avLst/>
          </a:prstGeom>
          <a:solidFill>
            <a:srgbClr val="FF00FF"/>
          </a:solidFill>
          <a:ln>
            <a:solidFill>
              <a:srgbClr val="CC00CC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Note: This version of the </a:t>
            </a:r>
            <a:r>
              <a:rPr lang="en-US" altLang="en-US" sz="1000" b="1" dirty="0" err="1">
                <a:latin typeface="Arial" pitchFamily="34" charset="0"/>
                <a:cs typeface="Arial" pitchFamily="34" charset="0"/>
              </a:rPr>
              <a:t>thrive</a:t>
            </a:r>
            <a:r>
              <a:rPr lang="en-US" altLang="en-US" sz="1000" b="1" baseline="30000" dirty="0" err="1">
                <a:latin typeface="Arial" pitchFamily="34" charset="0"/>
                <a:cs typeface="Arial" pitchFamily="34" charset="0"/>
              </a:rPr>
              <a:t>TM</a:t>
            </a:r>
            <a:r>
              <a:rPr lang="en-US" altLang="en-US" sz="1000" b="1" baseline="30000" dirty="0">
                <a:latin typeface="Arial" pitchFamily="34" charset="0"/>
                <a:cs typeface="Arial" pitchFamily="34" charset="0"/>
              </a:rPr>
              <a:t> </a:t>
            </a:r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 window is for use by all non-U.S. countries.</a:t>
            </a:r>
          </a:p>
          <a:p>
            <a:pPr eaLnBrk="1" hangingPunct="1"/>
            <a:endParaRPr lang="en-US" altLang="en-US" sz="1000" b="1" dirty="0">
              <a:latin typeface="Arial" pitchFamily="34" charset="0"/>
              <a:cs typeface="Arial" pitchFamily="34" charset="0"/>
            </a:endParaRPr>
          </a:p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Changing image:</a:t>
            </a:r>
          </a:p>
          <a:p>
            <a:pPr eaLnBrk="1" hangingPunct="1"/>
            <a:endParaRPr lang="en-US" altLang="en-US" sz="1000" dirty="0">
              <a:latin typeface="Arial" pitchFamily="34" charset="0"/>
              <a:cs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elete current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ouble click icon to select new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Right-click photo image and click on “Send To Back” to </a:t>
            </a:r>
            <a:r>
              <a:rPr lang="en-US" altLang="en-US" sz="1000" u="sng" dirty="0">
                <a:latin typeface="Arial" pitchFamily="34" charset="0"/>
                <a:cs typeface="Arial" pitchFamily="34" charset="0"/>
              </a:rPr>
              <a:t>ensure photo image is behind the “</a:t>
            </a:r>
            <a:r>
              <a:rPr lang="en-US" altLang="ja-JP" sz="1000" i="1" u="sng" dirty="0">
                <a:latin typeface="Arial" pitchFamily="34" charset="0"/>
                <a:cs typeface="Arial" pitchFamily="34" charset="0"/>
              </a:rPr>
              <a:t>thrive</a:t>
            </a:r>
            <a:r>
              <a:rPr lang="en-US" altLang="en-US" sz="1000" u="sng" dirty="0">
                <a:latin typeface="Arial" pitchFamily="34" charset="0"/>
                <a:cs typeface="Arial" pitchFamily="34" charset="0"/>
              </a:rPr>
              <a:t>”</a:t>
            </a:r>
            <a:r>
              <a:rPr lang="en-US" altLang="ja-JP" sz="1000" u="sng" dirty="0">
                <a:latin typeface="Arial" pitchFamily="34" charset="0"/>
                <a:cs typeface="Arial" pitchFamily="34" charset="0"/>
              </a:rPr>
              <a:t> graphic</a:t>
            </a:r>
            <a:endParaRPr lang="en-US" altLang="en-US" sz="1000" u="sng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38851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ColorMosaic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Diagonal Corner Rectangle 5"/>
          <p:cNvSpPr/>
          <p:nvPr/>
        </p:nvSpPr>
        <p:spPr>
          <a:xfrm flipV="1">
            <a:off x="230190" y="228601"/>
            <a:ext cx="7223125" cy="5711825"/>
          </a:xfrm>
          <a:prstGeom prst="round2DiagRect">
            <a:avLst>
              <a:gd name="adj1" fmla="val 0"/>
              <a:gd name="adj2" fmla="val 402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ound Diagonal Corner Rectangle 6"/>
          <p:cNvSpPr/>
          <p:nvPr/>
        </p:nvSpPr>
        <p:spPr>
          <a:xfrm>
            <a:off x="7562850" y="3078163"/>
            <a:ext cx="1352550" cy="2862263"/>
          </a:xfrm>
          <a:prstGeom prst="round2DiagRect">
            <a:avLst>
              <a:gd name="adj1" fmla="val 612"/>
              <a:gd name="adj2" fmla="val 1661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ound Diagonal Corner Rectangle 7"/>
          <p:cNvSpPr/>
          <p:nvPr/>
        </p:nvSpPr>
        <p:spPr>
          <a:xfrm>
            <a:off x="7562850" y="1828800"/>
            <a:ext cx="1352550" cy="1143000"/>
          </a:xfrm>
          <a:prstGeom prst="round2DiagRect">
            <a:avLst>
              <a:gd name="adj1" fmla="val 20468"/>
              <a:gd name="adj2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40664" y="998333"/>
            <a:ext cx="5029200" cy="2375777"/>
          </a:xfrm>
        </p:spPr>
        <p:txBody>
          <a:bodyPr t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8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cover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740664" y="3430587"/>
            <a:ext cx="5029200" cy="914400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cover subtitl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775157" y="6511173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</a:t>
            </a:r>
            <a:r>
              <a:rPr lang="en-US" altLang="en-US" sz="700" baseline="30000" dirty="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sp>
        <p:nvSpPr>
          <p:cNvPr id="10" name="Round Diagonal Corner Rectangle 5">
            <a:extLst>
              <a:ext uri="{FF2B5EF4-FFF2-40B4-BE49-F238E27FC236}">
                <a16:creationId xmlns:a16="http://schemas.microsoft.com/office/drawing/2014/main" id="{E6EDFFD7-E063-405D-B0AB-2A098757C1D4}"/>
              </a:ext>
            </a:extLst>
          </p:cNvPr>
          <p:cNvSpPr/>
          <p:nvPr userDrawn="1"/>
        </p:nvSpPr>
        <p:spPr>
          <a:xfrm flipV="1">
            <a:off x="230190" y="228601"/>
            <a:ext cx="7223125" cy="5711825"/>
          </a:xfrm>
          <a:prstGeom prst="round2DiagRect">
            <a:avLst>
              <a:gd name="adj1" fmla="val 0"/>
              <a:gd name="adj2" fmla="val 402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1" name="Round Diagonal Corner Rectangle 6">
            <a:extLst>
              <a:ext uri="{FF2B5EF4-FFF2-40B4-BE49-F238E27FC236}">
                <a16:creationId xmlns:a16="http://schemas.microsoft.com/office/drawing/2014/main" id="{0829AE80-B4D7-4426-8DB2-1F60C5C8F73E}"/>
              </a:ext>
            </a:extLst>
          </p:cNvPr>
          <p:cNvSpPr/>
          <p:nvPr userDrawn="1"/>
        </p:nvSpPr>
        <p:spPr>
          <a:xfrm>
            <a:off x="7562850" y="3078163"/>
            <a:ext cx="1352550" cy="2862263"/>
          </a:xfrm>
          <a:prstGeom prst="round2DiagRect">
            <a:avLst>
              <a:gd name="adj1" fmla="val 612"/>
              <a:gd name="adj2" fmla="val 1661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2" name="Round Diagonal Corner Rectangle 7">
            <a:extLst>
              <a:ext uri="{FF2B5EF4-FFF2-40B4-BE49-F238E27FC236}">
                <a16:creationId xmlns:a16="http://schemas.microsoft.com/office/drawing/2014/main" id="{E5694FDD-7702-48B7-A788-24B2E5553985}"/>
              </a:ext>
            </a:extLst>
          </p:cNvPr>
          <p:cNvSpPr/>
          <p:nvPr userDrawn="1"/>
        </p:nvSpPr>
        <p:spPr>
          <a:xfrm>
            <a:off x="7562850" y="1828800"/>
            <a:ext cx="1352550" cy="1143000"/>
          </a:xfrm>
          <a:prstGeom prst="round2DiagRect">
            <a:avLst>
              <a:gd name="adj1" fmla="val 20468"/>
              <a:gd name="adj2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B931685-3B0F-49C6-BDC0-7D87A80CBC22}"/>
              </a:ext>
            </a:extLst>
          </p:cNvPr>
          <p:cNvSpPr txBox="1"/>
          <p:nvPr userDrawn="1"/>
        </p:nvSpPr>
        <p:spPr>
          <a:xfrm>
            <a:off x="2775157" y="6511173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</a:t>
            </a:r>
            <a:r>
              <a:rPr lang="en-US" altLang="en-US" sz="700" baseline="30000" dirty="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92538F3-523B-45E4-B539-D4D29C88B3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74907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LowColo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758827" y="4562475"/>
            <a:ext cx="631825" cy="1539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40665" y="2258568"/>
            <a:ext cx="7514337" cy="2057400"/>
          </a:xfrm>
          <a:noFill/>
        </p:spPr>
        <p:txBody>
          <a:bodyPr t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400" b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cover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>
          <a:xfrm>
            <a:off x="740664" y="4791456"/>
            <a:ext cx="5486400" cy="1271016"/>
          </a:xfrm>
          <a:noFill/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0" baseline="0">
                <a:solidFill>
                  <a:schemeClr val="accent2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cover subtitl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775157" y="6511173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</a:t>
            </a:r>
            <a:r>
              <a:rPr lang="en-US" altLang="en-US" sz="700" baseline="30000" dirty="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C11C944-57DA-4703-B2EB-3AFCFE127048}"/>
              </a:ext>
            </a:extLst>
          </p:cNvPr>
          <p:cNvSpPr/>
          <p:nvPr userDrawn="1"/>
        </p:nvSpPr>
        <p:spPr>
          <a:xfrm>
            <a:off x="758827" y="4562475"/>
            <a:ext cx="631825" cy="1539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4B943C8-0D8B-49C8-B62F-B456D8902523}"/>
              </a:ext>
            </a:extLst>
          </p:cNvPr>
          <p:cNvSpPr txBox="1"/>
          <p:nvPr userDrawn="1"/>
        </p:nvSpPr>
        <p:spPr>
          <a:xfrm>
            <a:off x="2775157" y="6511173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</a:t>
            </a:r>
            <a:r>
              <a:rPr lang="en-US" altLang="en-US" sz="700" baseline="30000" dirty="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A53D840-D399-404B-BF88-671A9A763D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43091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neutr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/>
        </p:nvSpPr>
        <p:spPr>
          <a:xfrm>
            <a:off x="2775157" y="6511174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</a:t>
            </a:r>
            <a:r>
              <a:rPr lang="en-US" altLang="en-US" sz="700" baseline="30000" dirty="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8FED626-DB5B-42B2-BB7E-71025455B86F}"/>
              </a:ext>
            </a:extLst>
          </p:cNvPr>
          <p:cNvSpPr/>
          <p:nvPr/>
        </p:nvSpPr>
        <p:spPr>
          <a:xfrm>
            <a:off x="0" y="4838699"/>
            <a:ext cx="9144000" cy="1155347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2B20C61-46D5-4207-87F3-B5150478EC63}"/>
              </a:ext>
            </a:extLst>
          </p:cNvPr>
          <p:cNvSpPr/>
          <p:nvPr/>
        </p:nvSpPr>
        <p:spPr>
          <a:xfrm>
            <a:off x="0" y="-1"/>
            <a:ext cx="9144000" cy="483870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9E708CAB-31D1-4D2F-B575-B682B2C9FB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-1"/>
            <a:ext cx="4495510" cy="4838700"/>
          </a:xfrm>
          <a:noFill/>
        </p:spPr>
        <p:txBody>
          <a:bodyPr lIns="324000" anchor="ctr" anchorCtr="0"/>
          <a:lstStyle>
            <a:lvl1pPr marL="0" indent="0">
              <a:spcBef>
                <a:spcPts val="0"/>
              </a:spcBef>
              <a:buNone/>
              <a:defRPr sz="6500" spc="-1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687750CA-285F-44A6-BA35-EB2DE4C549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" y="5001684"/>
            <a:ext cx="5319512" cy="829733"/>
          </a:xfrm>
        </p:spPr>
        <p:txBody>
          <a:bodyPr lIns="324000"/>
          <a:lstStyle>
            <a:lvl1pPr marL="0" indent="0">
              <a:buNone/>
              <a:defRPr sz="1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DB3175-544D-4F1D-A6C5-B7D7FCF67B4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F4FE1E9-55F1-4344-9044-63D00882ADB3}"/>
              </a:ext>
            </a:extLst>
          </p:cNvPr>
          <p:cNvSpPr txBox="1"/>
          <p:nvPr userDrawn="1"/>
        </p:nvSpPr>
        <p:spPr>
          <a:xfrm>
            <a:off x="2775157" y="6511174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</a:t>
            </a:r>
            <a:r>
              <a:rPr lang="en-US" altLang="en-US" sz="700" baseline="30000" dirty="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3C1AA86-3DA6-4206-B0BD-8C1111F78E89}"/>
              </a:ext>
            </a:extLst>
          </p:cNvPr>
          <p:cNvSpPr/>
          <p:nvPr userDrawn="1"/>
        </p:nvSpPr>
        <p:spPr>
          <a:xfrm>
            <a:off x="0" y="4838699"/>
            <a:ext cx="9144000" cy="1155347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F7B6900-8A97-415E-8764-B13B86366BD4}"/>
              </a:ext>
            </a:extLst>
          </p:cNvPr>
          <p:cNvSpPr/>
          <p:nvPr userDrawn="1"/>
        </p:nvSpPr>
        <p:spPr>
          <a:xfrm>
            <a:off x="0" y="-1"/>
            <a:ext cx="9144000" cy="483870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F1F0A02-4BE6-4E1D-A33C-6F3CB27DF5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5183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neutr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2392D36-4719-4F0F-A6C8-80746FD2A04B}"/>
              </a:ext>
            </a:extLst>
          </p:cNvPr>
          <p:cNvSpPr/>
          <p:nvPr/>
        </p:nvSpPr>
        <p:spPr>
          <a:xfrm>
            <a:off x="0" y="4838699"/>
            <a:ext cx="9144000" cy="2019301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6AA0A42-6288-4BD0-876E-3C9A57F80368}"/>
              </a:ext>
            </a:extLst>
          </p:cNvPr>
          <p:cNvSpPr/>
          <p:nvPr/>
        </p:nvSpPr>
        <p:spPr>
          <a:xfrm>
            <a:off x="0" y="-1"/>
            <a:ext cx="9144000" cy="483870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B44A1C-AD8C-444F-A68E-DB6A3EEC67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-1"/>
            <a:ext cx="4495510" cy="4838700"/>
          </a:xfrm>
          <a:noFill/>
        </p:spPr>
        <p:txBody>
          <a:bodyPr lIns="324000" anchor="ctr" anchorCtr="0"/>
          <a:lstStyle>
            <a:lvl1pPr marL="0" indent="0">
              <a:spcBef>
                <a:spcPts val="0"/>
              </a:spcBef>
              <a:buNone/>
              <a:defRPr sz="6500" spc="-1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775157" y="6511174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chemeClr val="bg1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chemeClr val="bg1"/>
                </a:solidFill>
              </a:rPr>
              <a:t>2022</a:t>
            </a:r>
            <a:r>
              <a:rPr lang="en-US" altLang="en-US" sz="700" baseline="30000" dirty="0">
                <a:solidFill>
                  <a:schemeClr val="bg1"/>
                </a:solidFill>
              </a:rPr>
              <a:t> Cargill, Incorporated. All rights reserved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2E4E66B-F82C-45DC-A708-72F2E8D1D5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" y="5001684"/>
            <a:ext cx="5319512" cy="829733"/>
          </a:xfrm>
        </p:spPr>
        <p:txBody>
          <a:bodyPr lIns="324000"/>
          <a:lstStyle>
            <a:lvl1pPr marL="0" indent="0">
              <a:buNone/>
              <a:defRPr sz="1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A33D911-5849-40C9-B782-26719510831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7600" y="6163200"/>
            <a:ext cx="1566000" cy="49253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3C5EE28-0307-4F1B-BA6A-2BD42B4FA734}"/>
              </a:ext>
            </a:extLst>
          </p:cNvPr>
          <p:cNvSpPr/>
          <p:nvPr userDrawn="1"/>
        </p:nvSpPr>
        <p:spPr>
          <a:xfrm>
            <a:off x="0" y="4838699"/>
            <a:ext cx="9144000" cy="2019301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067069E-4A3A-480D-9699-039F159E7DDC}"/>
              </a:ext>
            </a:extLst>
          </p:cNvPr>
          <p:cNvSpPr/>
          <p:nvPr userDrawn="1"/>
        </p:nvSpPr>
        <p:spPr>
          <a:xfrm>
            <a:off x="0" y="-1"/>
            <a:ext cx="9144000" cy="483870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4E7F7A0-DAD3-44EF-8A70-889B387E0FE6}"/>
              </a:ext>
            </a:extLst>
          </p:cNvPr>
          <p:cNvSpPr txBox="1"/>
          <p:nvPr userDrawn="1"/>
        </p:nvSpPr>
        <p:spPr>
          <a:xfrm>
            <a:off x="2775157" y="6511174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chemeClr val="bg1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chemeClr val="bg1"/>
                </a:solidFill>
              </a:rPr>
              <a:t>2022</a:t>
            </a:r>
            <a:r>
              <a:rPr lang="en-US" altLang="en-US" sz="700" baseline="30000" dirty="0">
                <a:solidFill>
                  <a:schemeClr val="bg1"/>
                </a:solidFill>
              </a:rPr>
              <a:t> Cargill, Incorporated. All rights reserved.</a:t>
            </a:r>
          </a:p>
        </p:txBody>
      </p:sp>
      <p:pic>
        <p:nvPicPr>
          <p:cNvPr id="12" name="Picture 1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C33A1FB-4D00-446C-9944-31258A1CD0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7600" y="6163200"/>
            <a:ext cx="1566000" cy="492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8551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U.S._ThriveLow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 Diagonal Corner Rectangle 13"/>
          <p:cNvSpPr/>
          <p:nvPr userDrawn="1"/>
        </p:nvSpPr>
        <p:spPr>
          <a:xfrm>
            <a:off x="6607175" y="1782233"/>
            <a:ext cx="2332038" cy="3469591"/>
          </a:xfrm>
          <a:prstGeom prst="round2DiagRect">
            <a:avLst>
              <a:gd name="adj1" fmla="val 0"/>
              <a:gd name="adj2" fmla="val 7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228600"/>
            <a:ext cx="6501384" cy="5715000"/>
          </a:xfrm>
          <a:prstGeom prst="rect">
            <a:avLst/>
          </a:prstGeom>
          <a:solidFill>
            <a:schemeClr val="tx2"/>
          </a:solidFill>
        </p:spPr>
        <p:txBody>
          <a:bodyPr rtlCol="0" anchor="ctr">
            <a:noAutofit/>
          </a:bodyPr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lvl1pPr>
          </a:lstStyle>
          <a:p>
            <a:pPr lvl="0"/>
            <a:r>
              <a:rPr lang="en-US" noProof="0" dirty="0"/>
              <a:t>Double click icon to add pictur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pPr>
            <a:r>
              <a:rPr lang="en-US" noProof="0" dirty="0"/>
              <a:t>This version of the thrive® window is for U.S. use only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890012" y="2017528"/>
            <a:ext cx="1792027" cy="1491721"/>
          </a:xfrm>
        </p:spPr>
        <p:txBody>
          <a:bodyPr t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cover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90012" y="3532606"/>
            <a:ext cx="1792027" cy="1317625"/>
          </a:xfrm>
        </p:spPr>
        <p:txBody>
          <a:bodyPr tIns="0" bIns="0">
            <a:noAutofit/>
          </a:bodyPr>
          <a:lstStyle>
            <a:lvl1pPr marL="0" indent="0">
              <a:buFontTx/>
              <a:buNone/>
              <a:defRPr sz="1400" b="0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cover sub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775157" y="6511173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 </a:t>
            </a:r>
            <a:r>
              <a:rPr lang="en-US" altLang="en-US" sz="700" baseline="30000" dirty="0">
                <a:solidFill>
                  <a:srgbClr val="959595"/>
                </a:solidFill>
              </a:rPr>
              <a:t>Cargill, Incorporated. All rights reserved.</a:t>
            </a:r>
          </a:p>
        </p:txBody>
      </p:sp>
      <p:sp>
        <p:nvSpPr>
          <p:cNvPr id="18" name="Round Diagonal Corner Rectangle 17"/>
          <p:cNvSpPr/>
          <p:nvPr userDrawn="1"/>
        </p:nvSpPr>
        <p:spPr>
          <a:xfrm>
            <a:off x="6602414" y="232833"/>
            <a:ext cx="1597025" cy="1416051"/>
          </a:xfrm>
          <a:prstGeom prst="round2DiagRect">
            <a:avLst>
              <a:gd name="adj1" fmla="val 1506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sp>
        <p:nvSpPr>
          <p:cNvPr id="19" name="Flowchart: Document 10">
            <a:extLst>
              <a:ext uri="{FF2B5EF4-FFF2-40B4-BE49-F238E27FC236}">
                <a16:creationId xmlns:a16="http://schemas.microsoft.com/office/drawing/2014/main" id="{EB55920E-10EC-3A42-B355-E2608BEB3235}"/>
              </a:ext>
            </a:extLst>
          </p:cNvPr>
          <p:cNvSpPr/>
          <p:nvPr userDrawn="1"/>
        </p:nvSpPr>
        <p:spPr>
          <a:xfrm>
            <a:off x="-2068082" y="189706"/>
            <a:ext cx="2068082" cy="2501456"/>
          </a:xfrm>
          <a:prstGeom prst="flowChartDocument">
            <a:avLst/>
          </a:prstGeom>
          <a:solidFill>
            <a:srgbClr val="FF00FF"/>
          </a:solidFill>
          <a:ln>
            <a:solidFill>
              <a:srgbClr val="CC00CC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Note: This version of the thrive® window is for U.S. use only.</a:t>
            </a:r>
          </a:p>
          <a:p>
            <a:pPr eaLnBrk="1" hangingPunct="1"/>
            <a:endParaRPr lang="en-US" altLang="en-US" sz="1000" b="1" dirty="0">
              <a:latin typeface="Arial" pitchFamily="34" charset="0"/>
              <a:cs typeface="Arial" pitchFamily="34" charset="0"/>
            </a:endParaRPr>
          </a:p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Changing image:</a:t>
            </a:r>
          </a:p>
          <a:p>
            <a:pPr eaLnBrk="1" hangingPunct="1"/>
            <a:endParaRPr lang="en-US" altLang="en-US" sz="1000" dirty="0">
              <a:latin typeface="Arial" pitchFamily="34" charset="0"/>
              <a:cs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elete current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ouble click icon to select new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Right-click photo image and click on “Send To Back” to </a:t>
            </a:r>
            <a:r>
              <a:rPr lang="en-US" altLang="en-US" sz="1000" u="sng" dirty="0">
                <a:latin typeface="Arial" pitchFamily="34" charset="0"/>
                <a:cs typeface="Arial" pitchFamily="34" charset="0"/>
              </a:rPr>
              <a:t>ensure photo image is behind the “</a:t>
            </a:r>
            <a:r>
              <a:rPr lang="en-US" altLang="ja-JP" sz="1000" i="1" u="sng" dirty="0">
                <a:latin typeface="Arial" pitchFamily="34" charset="0"/>
                <a:cs typeface="Arial" pitchFamily="34" charset="0"/>
              </a:rPr>
              <a:t>thrive</a:t>
            </a:r>
            <a:r>
              <a:rPr lang="en-US" altLang="en-US" sz="1000" u="sng" dirty="0">
                <a:latin typeface="Arial" pitchFamily="34" charset="0"/>
                <a:cs typeface="Arial" pitchFamily="34" charset="0"/>
              </a:rPr>
              <a:t>”</a:t>
            </a:r>
            <a:r>
              <a:rPr lang="en-US" altLang="ja-JP" sz="1000" u="sng" dirty="0">
                <a:latin typeface="Arial" pitchFamily="34" charset="0"/>
                <a:cs typeface="Arial" pitchFamily="34" charset="0"/>
              </a:rPr>
              <a:t> graphic</a:t>
            </a:r>
            <a:endParaRPr lang="en-US" altLang="en-US" sz="1000" u="sng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2910FB0-09A6-284F-BC93-033A36E65A53}"/>
              </a:ext>
            </a:extLst>
          </p:cNvPr>
          <p:cNvGrpSpPr/>
          <p:nvPr userDrawn="1"/>
        </p:nvGrpSpPr>
        <p:grpSpPr>
          <a:xfrm>
            <a:off x="-3301" y="5037927"/>
            <a:ext cx="6568749" cy="1008161"/>
            <a:chOff x="-3301" y="5037927"/>
            <a:chExt cx="6568749" cy="1008161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F8E7921-27F3-9646-90AC-444E3C3468CD}"/>
                </a:ext>
              </a:extLst>
            </p:cNvPr>
            <p:cNvSpPr/>
            <p:nvPr/>
          </p:nvSpPr>
          <p:spPr>
            <a:xfrm>
              <a:off x="5946775" y="5256903"/>
              <a:ext cx="618673" cy="7891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135A30E9-7E90-7F4B-8878-E2D11215CD1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3301" y="5037927"/>
              <a:ext cx="6002110" cy="9155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7106827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Break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Diagonal Corner Rectangle 5"/>
          <p:cNvSpPr/>
          <p:nvPr/>
        </p:nvSpPr>
        <p:spPr>
          <a:xfrm>
            <a:off x="230188" y="228601"/>
            <a:ext cx="8686800" cy="571182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40664" y="1847088"/>
            <a:ext cx="7424928" cy="2340864"/>
          </a:xfrm>
        </p:spPr>
        <p:txBody>
          <a:bodyPr/>
          <a:lstStyle>
            <a:lvl1pPr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ection title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2" y="649800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8000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97999B"/>
                </a:solidFill>
                <a:cs typeface="Arial" charset="0"/>
              </a:rPr>
              <a:t>Footer</a:t>
            </a:r>
            <a:endParaRPr lang="en-US" dirty="0">
              <a:solidFill>
                <a:srgbClr val="FF0000"/>
              </a:solidFill>
              <a:cs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2051960-6DF8-476E-BFC2-A24414685243}"/>
              </a:ext>
            </a:extLst>
          </p:cNvPr>
          <p:cNvSpPr txBox="1"/>
          <p:nvPr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sp>
        <p:nvSpPr>
          <p:cNvPr id="10" name="Round Diagonal Corner Rectangle 5">
            <a:extLst>
              <a:ext uri="{FF2B5EF4-FFF2-40B4-BE49-F238E27FC236}">
                <a16:creationId xmlns:a16="http://schemas.microsoft.com/office/drawing/2014/main" id="{E40679F0-4813-405C-B95B-FA49389E347B}"/>
              </a:ext>
            </a:extLst>
          </p:cNvPr>
          <p:cNvSpPr/>
          <p:nvPr userDrawn="1"/>
        </p:nvSpPr>
        <p:spPr>
          <a:xfrm>
            <a:off x="230188" y="228601"/>
            <a:ext cx="8686800" cy="571182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8F00831-4802-4A3C-92CA-6C0EE6ADA8BD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72887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Break_Lt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 Diagonal Corner Rectangle 2"/>
          <p:cNvSpPr/>
          <p:nvPr/>
        </p:nvSpPr>
        <p:spPr>
          <a:xfrm>
            <a:off x="230188" y="228601"/>
            <a:ext cx="8686800" cy="571182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40664" y="1847088"/>
            <a:ext cx="7424928" cy="2340864"/>
          </a:xfrm>
        </p:spPr>
        <p:txBody>
          <a:bodyPr/>
          <a:lstStyle>
            <a:lvl1pPr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ection tit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2" y="649800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8000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97999B"/>
                </a:solidFill>
                <a:cs typeface="Arial" charset="0"/>
              </a:rPr>
              <a:t>Footer</a:t>
            </a:r>
            <a:endParaRPr lang="en-US" dirty="0">
              <a:solidFill>
                <a:srgbClr val="FF0000"/>
              </a:solidFill>
              <a:cs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20A11C5-C312-4371-9E77-F0B3FBF22C61}"/>
              </a:ext>
            </a:extLst>
          </p:cNvPr>
          <p:cNvSpPr txBox="1"/>
          <p:nvPr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sp>
        <p:nvSpPr>
          <p:cNvPr id="9" name="Round Diagonal Corner Rectangle 2">
            <a:extLst>
              <a:ext uri="{FF2B5EF4-FFF2-40B4-BE49-F238E27FC236}">
                <a16:creationId xmlns:a16="http://schemas.microsoft.com/office/drawing/2014/main" id="{6F6BE509-B0B3-4750-BF36-8B0F88D302D9}"/>
              </a:ext>
            </a:extLst>
          </p:cNvPr>
          <p:cNvSpPr/>
          <p:nvPr userDrawn="1"/>
        </p:nvSpPr>
        <p:spPr>
          <a:xfrm>
            <a:off x="230188" y="228601"/>
            <a:ext cx="8686800" cy="571182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B4DCD63-3D87-4761-A687-523C8E039CC1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662947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Break_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 Diagonal Corner Rectangle 2"/>
          <p:cNvSpPr/>
          <p:nvPr/>
        </p:nvSpPr>
        <p:spPr>
          <a:xfrm>
            <a:off x="230188" y="228601"/>
            <a:ext cx="8686800" cy="571182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5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40664" y="1851803"/>
            <a:ext cx="7424928" cy="2340864"/>
          </a:xfrm>
        </p:spPr>
        <p:txBody>
          <a:bodyPr/>
          <a:lstStyle>
            <a:lvl1pPr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ection tit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2" y="649800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8000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97999B"/>
                </a:solidFill>
                <a:cs typeface="Arial" charset="0"/>
              </a:rPr>
              <a:t>Footer</a:t>
            </a:r>
            <a:endParaRPr lang="en-US" dirty="0">
              <a:solidFill>
                <a:srgbClr val="FF0000"/>
              </a:solidFill>
              <a:cs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EC50DD9-77BE-4AB6-A062-BCBAE0E361EE}"/>
              </a:ext>
            </a:extLst>
          </p:cNvPr>
          <p:cNvSpPr txBox="1"/>
          <p:nvPr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sp>
        <p:nvSpPr>
          <p:cNvPr id="9" name="Round Diagonal Corner Rectangle 2">
            <a:extLst>
              <a:ext uri="{FF2B5EF4-FFF2-40B4-BE49-F238E27FC236}">
                <a16:creationId xmlns:a16="http://schemas.microsoft.com/office/drawing/2014/main" id="{0518519D-4692-4CBD-8100-B9B0F26334F8}"/>
              </a:ext>
            </a:extLst>
          </p:cNvPr>
          <p:cNvSpPr/>
          <p:nvPr userDrawn="1"/>
        </p:nvSpPr>
        <p:spPr>
          <a:xfrm>
            <a:off x="230188" y="228601"/>
            <a:ext cx="8686800" cy="571182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5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3A65B0-9540-4EEA-BA54-AFD02F7F1921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490353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5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86400"/>
            <a:ext cx="8229600" cy="6948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57200" y="62640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3" y="649703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D6CA184-BD0E-4478-8B05-BF8276DBBD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918000"/>
            <a:ext cx="1828800" cy="52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1F82CAFC-3E11-42EE-95F9-501E65D4974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828800" y="918000"/>
            <a:ext cx="1828800" cy="52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DCFF910A-AE28-4729-9AA4-0BD28E40A35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657600" y="918000"/>
            <a:ext cx="1828800" cy="52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8B5629BA-4C8C-4611-9315-2B91C852F2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86400" y="918000"/>
            <a:ext cx="1828800" cy="52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4A86ED42-C77D-47CA-BF74-539831D2F8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315200" y="918000"/>
            <a:ext cx="1828800" cy="52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A66BA37-F51C-4112-B65B-9C89B2C2610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57200" y="6496089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chemeClr val="bg1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8C5585-67AB-457C-B573-BBAEA3F88F9C}"/>
              </a:ext>
            </a:extLst>
          </p:cNvPr>
          <p:cNvSpPr txBox="1"/>
          <p:nvPr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4290F06-9812-4A44-B345-D74C11E5312A}"/>
              </a:ext>
            </a:extLst>
          </p:cNvPr>
          <p:cNvCxnSpPr/>
          <p:nvPr userDrawn="1"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C78B292-2285-41C7-A428-23719D28A9DB}"/>
              </a:ext>
            </a:extLst>
          </p:cNvPr>
          <p:cNvCxnSpPr/>
          <p:nvPr userDrawn="1"/>
        </p:nvCxnSpPr>
        <p:spPr>
          <a:xfrm>
            <a:off x="457200" y="62640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BFA32F3A-5E3A-4F89-AAA1-3B7C1BF40807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688769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4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86400"/>
            <a:ext cx="8229600" cy="6948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57200" y="6264000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3" y="649703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D6CA184-BD0E-4478-8B05-BF8276DBBD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918000"/>
            <a:ext cx="2286000" cy="34884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881FCD54-0BC7-4E6C-A925-1F90E2B4F03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286000" y="918000"/>
            <a:ext cx="2286000" cy="34884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6C7DCDD-2490-4C32-A4AB-8B7BE56C6A8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0" y="918000"/>
            <a:ext cx="2286000" cy="34884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7BC38575-7431-46B6-98D6-A03641F62F2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58000" y="918000"/>
            <a:ext cx="2286000" cy="34884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9015AC5-C00C-4549-A5DD-C7B1FBCFB4B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4406900"/>
            <a:ext cx="2286000" cy="1731600"/>
          </a:xfrm>
          <a:solidFill>
            <a:srgbClr val="658D1B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A891092-6FA6-4A59-B269-76A106BF25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86000" y="4406900"/>
            <a:ext cx="2286000" cy="1731600"/>
          </a:xfrm>
          <a:solidFill>
            <a:srgbClr val="279989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BEE1A188-37C4-47CA-A029-D70C641E45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0" y="4406900"/>
            <a:ext cx="2286000" cy="1731600"/>
          </a:xfrm>
          <a:solidFill>
            <a:srgbClr val="00768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86B1E21C-0BA5-4462-886C-A94CD57ABD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58000" y="4406900"/>
            <a:ext cx="2286000" cy="1731600"/>
          </a:xfrm>
          <a:solidFill>
            <a:srgbClr val="005F86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EEEC6469-238F-43CF-930F-5B8994F0BDE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57200" y="6494510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>
              <a:cs typeface="Arial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055D79C-D74C-4A8F-9E9F-8BB3F2194B56}"/>
              </a:ext>
            </a:extLst>
          </p:cNvPr>
          <p:cNvSpPr txBox="1"/>
          <p:nvPr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228B519-3444-4A18-A32E-033D75C60395}"/>
              </a:ext>
            </a:extLst>
          </p:cNvPr>
          <p:cNvCxnSpPr/>
          <p:nvPr userDrawn="1"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FA26F00-B4C1-4BF5-8D60-6B627B948419}"/>
              </a:ext>
            </a:extLst>
          </p:cNvPr>
          <p:cNvCxnSpPr/>
          <p:nvPr userDrawn="1"/>
        </p:nvCxnSpPr>
        <p:spPr>
          <a:xfrm>
            <a:off x="457200" y="6264000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8DFBD504-DF8F-4163-99DF-81739BAA6233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253622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orl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123B5F1-85A0-492C-A9F9-D8A74BA7CD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759229" y="1220606"/>
            <a:ext cx="10176775" cy="4875102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4" y="649703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536" y="86400"/>
            <a:ext cx="8229600" cy="694800"/>
          </a:xfrm>
        </p:spPr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9253A4E3-0F28-4836-BAD1-B361F59529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6709" y="918000"/>
            <a:ext cx="8230092" cy="2988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5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0DA159A-4FE8-4382-9BB4-3EFD01E62C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94510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>
              <a:cs typeface="Arial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C3EBE44-0E85-4508-AA83-93D0F664BAC7}"/>
              </a:ext>
            </a:extLst>
          </p:cNvPr>
          <p:cNvCxnSpPr/>
          <p:nvPr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6A2BCAF8-CC9C-451F-AB87-98726C05D230}"/>
              </a:ext>
            </a:extLst>
          </p:cNvPr>
          <p:cNvSpPr txBox="1"/>
          <p:nvPr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8168C74-8F0D-4465-8EC1-41D1CCFDA3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759229" y="1220606"/>
            <a:ext cx="10176775" cy="4875102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98BACBB-ADED-4BC9-8DA6-51E85D0DE7B1}"/>
              </a:ext>
            </a:extLst>
          </p:cNvPr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7B39DB5-7C1F-4E0F-A334-BC7336777945}"/>
              </a:ext>
            </a:extLst>
          </p:cNvPr>
          <p:cNvCxnSpPr/>
          <p:nvPr userDrawn="1"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21BE8E47-945F-4358-8DAE-890BCE8674C1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980623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ingle col text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536" y="86400"/>
            <a:ext cx="4647600" cy="69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18000"/>
            <a:ext cx="4647600" cy="29880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500" b="0">
                <a:solidFill>
                  <a:schemeClr val="accent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263600"/>
            <a:ext cx="4647600" cy="4680000"/>
          </a:xfrm>
        </p:spPr>
        <p:txBody>
          <a:bodyPr/>
          <a:lstStyle>
            <a:lvl1pPr>
              <a:lnSpc>
                <a:spcPct val="100000"/>
              </a:lnSpc>
              <a:defRPr sz="135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5105456" y="1"/>
            <a:ext cx="4038544" cy="6857996"/>
          </a:xfrm>
        </p:spPr>
        <p:txBody>
          <a:bodyPr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1050"/>
            </a:lvl1pPr>
          </a:lstStyle>
          <a:p>
            <a:pPr lvl="0"/>
            <a:r>
              <a:rPr lang="en-US" noProof="0" dirty="0"/>
              <a:t>Double click icon to add picture</a:t>
            </a:r>
          </a:p>
        </p:txBody>
      </p:sp>
      <p:sp>
        <p:nvSpPr>
          <p:cNvPr id="1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3" y="649703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>
            <a:cxnSpLocks/>
          </p:cNvCxnSpPr>
          <p:nvPr/>
        </p:nvCxnSpPr>
        <p:spPr>
          <a:xfrm>
            <a:off x="457200" y="781200"/>
            <a:ext cx="4647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/>
        </p:nvCxnSpPr>
        <p:spPr>
          <a:xfrm>
            <a:off x="457214" y="6265253"/>
            <a:ext cx="4647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C6AA16C5-B421-4B9E-B5D5-B78A84466F5E}"/>
              </a:ext>
            </a:extLst>
          </p:cNvPr>
          <p:cNvSpPr txBox="1"/>
          <p:nvPr/>
        </p:nvSpPr>
        <p:spPr>
          <a:xfrm>
            <a:off x="5673600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4510"/>
            <a:ext cx="4647600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>
              <a:cs typeface="Arial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88B52B7-FF6C-4295-ACC5-7C187B22A974}"/>
              </a:ext>
            </a:extLst>
          </p:cNvPr>
          <p:cNvCxnSpPr>
            <a:cxnSpLocks/>
          </p:cNvCxnSpPr>
          <p:nvPr userDrawn="1"/>
        </p:nvCxnSpPr>
        <p:spPr>
          <a:xfrm>
            <a:off x="457200" y="781200"/>
            <a:ext cx="4647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BEAB737-E084-4B34-9ABF-30359CEC7ECF}"/>
              </a:ext>
            </a:extLst>
          </p:cNvPr>
          <p:cNvCxnSpPr>
            <a:cxnSpLocks/>
          </p:cNvCxnSpPr>
          <p:nvPr userDrawn="1"/>
        </p:nvCxnSpPr>
        <p:spPr>
          <a:xfrm>
            <a:off x="457214" y="6265253"/>
            <a:ext cx="4647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EEFE64BD-41F6-4402-8A0B-C46DC2F9180E}"/>
              </a:ext>
            </a:extLst>
          </p:cNvPr>
          <p:cNvSpPr txBox="1"/>
          <p:nvPr userDrawn="1"/>
        </p:nvSpPr>
        <p:spPr>
          <a:xfrm>
            <a:off x="5673600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40748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ingle col text and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536" y="86400"/>
            <a:ext cx="8229600" cy="69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18000"/>
            <a:ext cx="8229600" cy="29880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500" b="0">
                <a:solidFill>
                  <a:schemeClr val="accent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263600"/>
            <a:ext cx="4040188" cy="4680000"/>
          </a:xfrm>
        </p:spPr>
        <p:txBody>
          <a:bodyPr/>
          <a:lstStyle>
            <a:lvl1pPr>
              <a:lnSpc>
                <a:spcPct val="100000"/>
              </a:lnSpc>
              <a:defRPr sz="135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4640231" y="1263600"/>
            <a:ext cx="4038544" cy="4680000"/>
          </a:xfrm>
        </p:spPr>
        <p:txBody>
          <a:bodyPr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1050"/>
            </a:lvl1pPr>
          </a:lstStyle>
          <a:p>
            <a:pPr lvl="0"/>
            <a:r>
              <a:rPr lang="en-US" noProof="0" dirty="0"/>
              <a:t>Double click icon to add picture</a:t>
            </a:r>
          </a:p>
        </p:txBody>
      </p:sp>
      <p:sp>
        <p:nvSpPr>
          <p:cNvPr id="1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3" y="649703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6089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GB" dirty="0">
              <a:solidFill>
                <a:srgbClr val="97999B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C2EDF6C-238C-4A3E-9AA7-EA9FDC45443E}"/>
              </a:ext>
            </a:extLst>
          </p:cNvPr>
          <p:cNvSpPr txBox="1"/>
          <p:nvPr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4B4199C-7038-4ECE-B2F0-0EBA2AF94E27}"/>
              </a:ext>
            </a:extLst>
          </p:cNvPr>
          <p:cNvCxnSpPr/>
          <p:nvPr userDrawn="1"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6830894-1271-453F-AA2C-B57237FFA778}"/>
              </a:ext>
            </a:extLst>
          </p:cNvPr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2559E6B8-B291-45C3-947A-30C357A69338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08089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 color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88848" y="116914"/>
            <a:ext cx="2678400" cy="6019879"/>
          </a:xfrm>
          <a:solidFill>
            <a:srgbClr val="279989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12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050"/>
            </a:lvl3pPr>
            <a:lvl4pPr>
              <a:lnSpc>
                <a:spcPct val="100000"/>
              </a:lnSpc>
              <a:defRPr sz="9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81F6D43B-FDBC-4FBD-BAEA-D066E05E6E8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223025" y="116914"/>
            <a:ext cx="2679469" cy="6019879"/>
          </a:xfrm>
          <a:solidFill>
            <a:srgbClr val="007681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050"/>
            </a:lvl3pPr>
            <a:lvl4pPr>
              <a:lnSpc>
                <a:spcPct val="100000"/>
              </a:lnSpc>
              <a:defRPr sz="9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116914"/>
            <a:ext cx="2679469" cy="6009252"/>
          </a:xfrm>
          <a:solidFill>
            <a:srgbClr val="005F86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050"/>
            </a:lvl3pPr>
            <a:lvl4pPr>
              <a:lnSpc>
                <a:spcPct val="100000"/>
              </a:lnSpc>
              <a:defRPr sz="9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562104" y="649703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" y="6494511"/>
            <a:ext cx="5396276" cy="123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>
              <a:cs typeface="Arial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33B9B2BE-B4C8-4C2F-8165-8541AED90C44}"/>
              </a:ext>
            </a:extLst>
          </p:cNvPr>
          <p:cNvSpPr txBox="1"/>
          <p:nvPr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46DFBB9-3F8E-4370-A04A-45C8DEA8D66C}"/>
              </a:ext>
            </a:extLst>
          </p:cNvPr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FB5920C5-8403-4360-9E8E-311821187743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575301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536" y="86400"/>
            <a:ext cx="8229600" cy="6948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3" y="649703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4510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>
              <a:cs typeface="Arial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E04472-216E-404A-8DC0-3FACD505E415}"/>
              </a:ext>
            </a:extLst>
          </p:cNvPr>
          <p:cNvSpPr txBox="1"/>
          <p:nvPr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1D4586-E2C6-4C28-ABE3-FBFDB975D11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7200" y="918000"/>
            <a:ext cx="8229600" cy="52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D42788D-1CF8-470E-A83A-D42CF73CD5FA}"/>
              </a:ext>
            </a:extLst>
          </p:cNvPr>
          <p:cNvCxnSpPr/>
          <p:nvPr userDrawn="1"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5359691-6E2F-4C97-8700-71F225FB97EA}"/>
              </a:ext>
            </a:extLst>
          </p:cNvPr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0B6BDF30-5D09-4DEE-9605-2FC34559C889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5337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non-U.S._ThriveUpp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 Diagonal Corner Rectangle 10"/>
          <p:cNvSpPr/>
          <p:nvPr userDrawn="1"/>
        </p:nvSpPr>
        <p:spPr>
          <a:xfrm>
            <a:off x="6607175" y="2112433"/>
            <a:ext cx="2332038" cy="3843867"/>
          </a:xfrm>
          <a:prstGeom prst="round2DiagRect">
            <a:avLst>
              <a:gd name="adj1" fmla="val 0"/>
              <a:gd name="adj2" fmla="val 7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3" name="Round Diagonal Corner Rectangle 12"/>
          <p:cNvSpPr/>
          <p:nvPr userDrawn="1"/>
        </p:nvSpPr>
        <p:spPr>
          <a:xfrm>
            <a:off x="6602414" y="518585"/>
            <a:ext cx="1597025" cy="1452033"/>
          </a:xfrm>
          <a:prstGeom prst="round2DiagRect">
            <a:avLst>
              <a:gd name="adj1" fmla="val 1506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228600"/>
            <a:ext cx="6501384" cy="5715000"/>
          </a:xfrm>
          <a:prstGeom prst="rect">
            <a:avLst/>
          </a:prstGeom>
          <a:solidFill>
            <a:schemeClr val="tx2"/>
          </a:solidFill>
        </p:spPr>
        <p:txBody>
          <a:bodyPr rtlCol="0" anchor="ctr">
            <a:noAutofit/>
          </a:bodyPr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lvl1pPr>
          </a:lstStyle>
          <a:p>
            <a:pPr lvl="0"/>
            <a:r>
              <a:rPr lang="en-US" noProof="0" dirty="0"/>
              <a:t>Double click icon to add picture</a:t>
            </a:r>
          </a:p>
          <a:p>
            <a:pPr lvl="0"/>
            <a:r>
              <a:rPr lang="en-US" noProof="0" dirty="0"/>
              <a:t>This version of the thrive™ window is for use</a:t>
            </a:r>
          </a:p>
          <a:p>
            <a:pPr lvl="0"/>
            <a:r>
              <a:rPr lang="en-US" noProof="0" dirty="0"/>
              <a:t> by countries outside the U.S. &amp; India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875979" y="2691162"/>
            <a:ext cx="1782142" cy="1491721"/>
          </a:xfrm>
        </p:spPr>
        <p:txBody>
          <a:bodyPr t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cover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75979" y="4206241"/>
            <a:ext cx="1782142" cy="1317625"/>
          </a:xfrm>
        </p:spPr>
        <p:txBody>
          <a:bodyPr tIns="0" bIns="0">
            <a:noAutofit/>
          </a:bodyPr>
          <a:lstStyle>
            <a:lvl1pPr marL="0" indent="0">
              <a:buFontTx/>
              <a:buNone/>
              <a:defRPr sz="1400" b="0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cover sub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775157" y="6511173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</a:t>
            </a:r>
            <a:r>
              <a:rPr lang="en-US" altLang="en-US" sz="700" baseline="30000" dirty="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pic>
        <p:nvPicPr>
          <p:cNvPr id="16" name="Picture 3" descr="thriveWindow_lower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979" t="81619" r="30688"/>
          <a:stretch>
            <a:fillRect/>
          </a:stretch>
        </p:blipFill>
        <p:spPr bwMode="auto">
          <a:xfrm>
            <a:off x="-8404" y="61070"/>
            <a:ext cx="7958138" cy="112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Flowchart: Document 10">
            <a:extLst>
              <a:ext uri="{FF2B5EF4-FFF2-40B4-BE49-F238E27FC236}">
                <a16:creationId xmlns:a16="http://schemas.microsoft.com/office/drawing/2014/main" id="{6ACF92DC-E46C-D843-A0C2-7C72937E4DB5}"/>
              </a:ext>
            </a:extLst>
          </p:cNvPr>
          <p:cNvSpPr/>
          <p:nvPr userDrawn="1"/>
        </p:nvSpPr>
        <p:spPr>
          <a:xfrm>
            <a:off x="-2068082" y="189706"/>
            <a:ext cx="2068082" cy="2501456"/>
          </a:xfrm>
          <a:prstGeom prst="flowChartDocument">
            <a:avLst/>
          </a:prstGeom>
          <a:solidFill>
            <a:srgbClr val="FF00FF"/>
          </a:solidFill>
          <a:ln>
            <a:solidFill>
              <a:srgbClr val="CC00CC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Note: This version of the </a:t>
            </a:r>
            <a:r>
              <a:rPr lang="en-US" altLang="en-US" sz="1000" b="1" dirty="0" err="1">
                <a:latin typeface="Arial" pitchFamily="34" charset="0"/>
                <a:cs typeface="Arial" pitchFamily="34" charset="0"/>
              </a:rPr>
              <a:t>thrive</a:t>
            </a:r>
            <a:r>
              <a:rPr lang="en-US" altLang="en-US" sz="1000" b="1" baseline="30000" dirty="0" err="1">
                <a:latin typeface="Arial" pitchFamily="34" charset="0"/>
                <a:cs typeface="Arial" pitchFamily="34" charset="0"/>
              </a:rPr>
              <a:t>TM</a:t>
            </a:r>
            <a:r>
              <a:rPr lang="en-US" altLang="en-US" sz="1000" b="1" baseline="30000" dirty="0">
                <a:latin typeface="Arial" pitchFamily="34" charset="0"/>
                <a:cs typeface="Arial" pitchFamily="34" charset="0"/>
              </a:rPr>
              <a:t> </a:t>
            </a:r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 window is for use by </a:t>
            </a:r>
            <a:r>
              <a:rPr lang="en-US" altLang="en-US" sz="1000" b="1" dirty="0" err="1">
                <a:latin typeface="Arial" pitchFamily="34" charset="0"/>
                <a:cs typeface="Arial" pitchFamily="34" charset="0"/>
              </a:rPr>
              <a:t>by</a:t>
            </a:r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 countries outside the U.S. &amp; India.</a:t>
            </a:r>
          </a:p>
          <a:p>
            <a:pPr eaLnBrk="1" hangingPunct="1"/>
            <a:endParaRPr lang="en-US" altLang="en-US" sz="1000" b="1" dirty="0">
              <a:latin typeface="Arial" pitchFamily="34" charset="0"/>
              <a:cs typeface="Arial" pitchFamily="34" charset="0"/>
            </a:endParaRPr>
          </a:p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Changing image:</a:t>
            </a:r>
          </a:p>
          <a:p>
            <a:pPr eaLnBrk="1" hangingPunct="1"/>
            <a:endParaRPr lang="en-US" altLang="en-US" sz="1000" dirty="0">
              <a:latin typeface="Arial" pitchFamily="34" charset="0"/>
              <a:cs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elete current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ouble click icon to select new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Right-click photo image and click on “Send To Back” to </a:t>
            </a:r>
            <a:r>
              <a:rPr lang="en-US" altLang="en-US" sz="1000" u="sng" dirty="0">
                <a:latin typeface="Arial" pitchFamily="34" charset="0"/>
                <a:cs typeface="Arial" pitchFamily="34" charset="0"/>
              </a:rPr>
              <a:t>ensure photo image is behind the “</a:t>
            </a:r>
            <a:r>
              <a:rPr lang="en-US" altLang="ja-JP" sz="1000" i="1" u="sng" dirty="0">
                <a:latin typeface="Arial" pitchFamily="34" charset="0"/>
                <a:cs typeface="Arial" pitchFamily="34" charset="0"/>
              </a:rPr>
              <a:t>thrive</a:t>
            </a:r>
            <a:r>
              <a:rPr lang="en-US" altLang="en-US" sz="1000" u="sng" dirty="0">
                <a:latin typeface="Arial" pitchFamily="34" charset="0"/>
                <a:cs typeface="Arial" pitchFamily="34" charset="0"/>
              </a:rPr>
              <a:t>”</a:t>
            </a:r>
            <a:r>
              <a:rPr lang="en-US" altLang="ja-JP" sz="1000" u="sng" dirty="0">
                <a:latin typeface="Arial" pitchFamily="34" charset="0"/>
                <a:cs typeface="Arial" pitchFamily="34" charset="0"/>
              </a:rPr>
              <a:t> graphic</a:t>
            </a:r>
            <a:endParaRPr lang="en-US" altLang="en-US" sz="1000" u="sng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725598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ingle col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6709" y="918000"/>
            <a:ext cx="8230092" cy="2988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5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536" y="86400"/>
            <a:ext cx="8229600" cy="6948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2" y="649800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8000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>
                <a:cs typeface="Arial" charset="0"/>
              </a:rPr>
              <a:t>Footer	</a:t>
            </a:r>
            <a:endParaRPr lang="en-US" dirty="0">
              <a:cs typeface="Arial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B9F305D-9065-475F-ABB6-B20B5F9D0E91}"/>
              </a:ext>
            </a:extLst>
          </p:cNvPr>
          <p:cNvSpPr txBox="1"/>
          <p:nvPr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3D603A-8441-47E3-A9BA-88B94C73D54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7200" y="1263600"/>
            <a:ext cx="8229600" cy="48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989346D-4A67-4BE9-933C-04ADDF4CF8E2}"/>
              </a:ext>
            </a:extLst>
          </p:cNvPr>
          <p:cNvCxnSpPr/>
          <p:nvPr userDrawn="1"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917B980-7D54-4E56-8153-704206DDF805}"/>
              </a:ext>
            </a:extLst>
          </p:cNvPr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C8056720-E99E-41B6-9456-61DE9CA0EE4D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044243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536" y="86400"/>
            <a:ext cx="8229600" cy="6948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18000"/>
            <a:ext cx="4040188" cy="29880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500" b="0">
                <a:solidFill>
                  <a:schemeClr val="accent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263600"/>
            <a:ext cx="4040188" cy="4860000"/>
          </a:xfrm>
        </p:spPr>
        <p:txBody>
          <a:bodyPr/>
          <a:lstStyle>
            <a:lvl1pPr>
              <a:lnSpc>
                <a:spcPct val="100000"/>
              </a:lnSpc>
              <a:defRPr sz="135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918000"/>
            <a:ext cx="4041775" cy="29880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500" b="0">
                <a:solidFill>
                  <a:schemeClr val="accent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1263600"/>
            <a:ext cx="4041775" cy="4860000"/>
          </a:xfrm>
        </p:spPr>
        <p:txBody>
          <a:bodyPr/>
          <a:lstStyle>
            <a:lvl1pPr>
              <a:lnSpc>
                <a:spcPct val="100000"/>
              </a:lnSpc>
              <a:defRPr sz="135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562103" y="649703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" y="6498000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>
              <a:cs typeface="Arial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B0B46D41-5A3B-495D-8E75-88D127AF7536}"/>
              </a:ext>
            </a:extLst>
          </p:cNvPr>
          <p:cNvSpPr txBox="1"/>
          <p:nvPr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F8B9DEF-54F8-4A6F-A68A-B8E0AFB57747}"/>
              </a:ext>
            </a:extLst>
          </p:cNvPr>
          <p:cNvCxnSpPr/>
          <p:nvPr userDrawn="1"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2A292C3-E85D-424A-BC02-6C19CAB85E1F}"/>
              </a:ext>
            </a:extLst>
          </p:cNvPr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1AC337F0-0465-4D6C-95E5-58EB19D66FB9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080227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6709" y="918000"/>
            <a:ext cx="5011200" cy="2988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5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536" y="86400"/>
            <a:ext cx="8229600" cy="694800"/>
          </a:xfrm>
        </p:spPr>
        <p:txBody>
          <a:bodyPr/>
          <a:lstStyle/>
          <a:p>
            <a:r>
              <a:rPr lang="en-US" dirty="0"/>
              <a:t>Click to edit slide title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3" y="649703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8000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>
              <a:cs typeface="Arial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263600"/>
            <a:ext cx="4320000" cy="4622400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4pPr>
              <a:defRPr sz="1200"/>
            </a:lvl4pPr>
            <a:lvl5pPr marL="641747" indent="0">
              <a:buNone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ABE65F3-CBFE-4040-9FD2-10CF853C740E}"/>
              </a:ext>
            </a:extLst>
          </p:cNvPr>
          <p:cNvGrpSpPr/>
          <p:nvPr/>
        </p:nvGrpSpPr>
        <p:grpSpPr>
          <a:xfrm>
            <a:off x="5673901" y="1240397"/>
            <a:ext cx="2938031" cy="4646266"/>
            <a:chOff x="6033600" y="1240397"/>
            <a:chExt cx="2938031" cy="4646266"/>
          </a:xfrm>
        </p:grpSpPr>
        <p:sp>
          <p:nvSpPr>
            <p:cNvPr id="10" name="Round Diagonal Corner Rectangle 9">
              <a:extLst>
                <a:ext uri="{FF2B5EF4-FFF2-40B4-BE49-F238E27FC236}">
                  <a16:creationId xmlns:a16="http://schemas.microsoft.com/office/drawing/2014/main" id="{F4A9E267-9C7E-45F1-BB06-5D96BAA0376D}"/>
                </a:ext>
              </a:extLst>
            </p:cNvPr>
            <p:cNvSpPr/>
            <p:nvPr/>
          </p:nvSpPr>
          <p:spPr>
            <a:xfrm>
              <a:off x="6033601" y="2944723"/>
              <a:ext cx="2938030" cy="2941940"/>
            </a:xfrm>
            <a:prstGeom prst="round2DiagRect">
              <a:avLst>
                <a:gd name="adj1" fmla="val 12782"/>
                <a:gd name="adj2" fmla="val 0"/>
              </a:avLst>
            </a:prstGeom>
            <a:solidFill>
              <a:srgbClr val="005F8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" name="Round Diagonal Corner Rectangle 10">
              <a:extLst>
                <a:ext uri="{FF2B5EF4-FFF2-40B4-BE49-F238E27FC236}">
                  <a16:creationId xmlns:a16="http://schemas.microsoft.com/office/drawing/2014/main" id="{41359E97-B8F6-4703-8662-A3809AF3B07F}"/>
                </a:ext>
              </a:extLst>
            </p:cNvPr>
            <p:cNvSpPr/>
            <p:nvPr/>
          </p:nvSpPr>
          <p:spPr>
            <a:xfrm flipH="1">
              <a:off x="6979173" y="1240397"/>
              <a:ext cx="1986108" cy="1588112"/>
            </a:xfrm>
            <a:prstGeom prst="round2DiagRect">
              <a:avLst>
                <a:gd name="adj1" fmla="val 0"/>
                <a:gd name="adj2" fmla="val 22900"/>
              </a:avLst>
            </a:prstGeom>
            <a:solidFill>
              <a:srgbClr val="00768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7" name="Round Diagonal Corner Rectangle 5">
              <a:extLst>
                <a:ext uri="{FF2B5EF4-FFF2-40B4-BE49-F238E27FC236}">
                  <a16:creationId xmlns:a16="http://schemas.microsoft.com/office/drawing/2014/main" id="{6DEC578D-63EA-4F9C-9C07-539223C24B4A}"/>
                </a:ext>
              </a:extLst>
            </p:cNvPr>
            <p:cNvSpPr/>
            <p:nvPr/>
          </p:nvSpPr>
          <p:spPr>
            <a:xfrm>
              <a:off x="6033600" y="2063485"/>
              <a:ext cx="852056" cy="767483"/>
            </a:xfrm>
            <a:prstGeom prst="round2DiagRect">
              <a:avLst>
                <a:gd name="adj1" fmla="val 0"/>
                <a:gd name="adj2" fmla="val 46032"/>
              </a:avLst>
            </a:prstGeom>
            <a:solidFill>
              <a:schemeClr val="tx2">
                <a:lumMod val="9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00C620-C8F2-4119-9FC6-E4D4E4A835B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59653" y="3315018"/>
            <a:ext cx="2327275" cy="1881717"/>
          </a:xfrm>
        </p:spPr>
        <p:txBody>
          <a:bodyPr lIns="90000" rIns="9000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BF2FCB5-B504-43E6-BF6A-A3E60E3CEFAB}"/>
              </a:ext>
            </a:extLst>
          </p:cNvPr>
          <p:cNvSpPr txBox="1"/>
          <p:nvPr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8F242BD-C2F0-4BD5-B9F7-2907677661F8}"/>
              </a:ext>
            </a:extLst>
          </p:cNvPr>
          <p:cNvCxnSpPr/>
          <p:nvPr userDrawn="1"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D801870-5810-4F09-B756-408DFF7A8E2F}"/>
              </a:ext>
            </a:extLst>
          </p:cNvPr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9C56693-B27A-4473-B9D6-2A4BD04224D9}"/>
              </a:ext>
            </a:extLst>
          </p:cNvPr>
          <p:cNvGrpSpPr/>
          <p:nvPr userDrawn="1"/>
        </p:nvGrpSpPr>
        <p:grpSpPr>
          <a:xfrm>
            <a:off x="5673901" y="1240397"/>
            <a:ext cx="2938031" cy="4646266"/>
            <a:chOff x="6033600" y="1240397"/>
            <a:chExt cx="2938031" cy="4646266"/>
          </a:xfrm>
        </p:grpSpPr>
        <p:sp>
          <p:nvSpPr>
            <p:cNvPr id="22" name="Round Diagonal Corner Rectangle 9">
              <a:extLst>
                <a:ext uri="{FF2B5EF4-FFF2-40B4-BE49-F238E27FC236}">
                  <a16:creationId xmlns:a16="http://schemas.microsoft.com/office/drawing/2014/main" id="{F125D213-CA39-4A64-AC57-B2561E4D9097}"/>
                </a:ext>
              </a:extLst>
            </p:cNvPr>
            <p:cNvSpPr/>
            <p:nvPr/>
          </p:nvSpPr>
          <p:spPr>
            <a:xfrm>
              <a:off x="6033601" y="2944723"/>
              <a:ext cx="2938030" cy="2941940"/>
            </a:xfrm>
            <a:prstGeom prst="round2DiagRect">
              <a:avLst>
                <a:gd name="adj1" fmla="val 12782"/>
                <a:gd name="adj2" fmla="val 0"/>
              </a:avLst>
            </a:prstGeom>
            <a:solidFill>
              <a:srgbClr val="005F8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3" name="Round Diagonal Corner Rectangle 10">
              <a:extLst>
                <a:ext uri="{FF2B5EF4-FFF2-40B4-BE49-F238E27FC236}">
                  <a16:creationId xmlns:a16="http://schemas.microsoft.com/office/drawing/2014/main" id="{B8853DC3-4A86-41DC-9935-DBBD4CE5B3C2}"/>
                </a:ext>
              </a:extLst>
            </p:cNvPr>
            <p:cNvSpPr/>
            <p:nvPr/>
          </p:nvSpPr>
          <p:spPr>
            <a:xfrm flipH="1">
              <a:off x="6979173" y="1240397"/>
              <a:ext cx="1986108" cy="1588112"/>
            </a:xfrm>
            <a:prstGeom prst="round2DiagRect">
              <a:avLst>
                <a:gd name="adj1" fmla="val 0"/>
                <a:gd name="adj2" fmla="val 22900"/>
              </a:avLst>
            </a:prstGeom>
            <a:solidFill>
              <a:srgbClr val="00768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" name="Round Diagonal Corner Rectangle 5">
              <a:extLst>
                <a:ext uri="{FF2B5EF4-FFF2-40B4-BE49-F238E27FC236}">
                  <a16:creationId xmlns:a16="http://schemas.microsoft.com/office/drawing/2014/main" id="{C1E70601-8D92-431E-8D85-0EA1C200DBDD}"/>
                </a:ext>
              </a:extLst>
            </p:cNvPr>
            <p:cNvSpPr/>
            <p:nvPr/>
          </p:nvSpPr>
          <p:spPr>
            <a:xfrm>
              <a:off x="6033600" y="2063485"/>
              <a:ext cx="852056" cy="767483"/>
            </a:xfrm>
            <a:prstGeom prst="round2DiagRect">
              <a:avLst>
                <a:gd name="adj1" fmla="val 0"/>
                <a:gd name="adj2" fmla="val 46032"/>
              </a:avLst>
            </a:prstGeom>
            <a:solidFill>
              <a:schemeClr val="tx2">
                <a:lumMod val="9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FBC2D073-7023-4DB6-9719-5C26997320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59653" y="3315018"/>
            <a:ext cx="2327275" cy="1881717"/>
          </a:xfrm>
        </p:spPr>
        <p:txBody>
          <a:bodyPr lIns="90000" rIns="9000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8581369-B4A1-45AC-B9D8-DC614A36EBDA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856865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536" y="86400"/>
            <a:ext cx="8229600" cy="6948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altLang="en-US" dirty="0"/>
              <a:t>Click to edit slide title</a:t>
            </a:r>
            <a:endParaRPr lang="en-US" dirty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3" y="649800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6089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GB" dirty="0">
              <a:solidFill>
                <a:srgbClr val="97999B"/>
              </a:solidFill>
              <a:cs typeface="Arial" charset="0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63" name="Ink 62">
                <a:extLst>
                  <a:ext uri="{FF2B5EF4-FFF2-40B4-BE49-F238E27FC236}">
                    <a16:creationId xmlns:a16="http://schemas.microsoft.com/office/drawing/2014/main" id="{C945F9E1-E051-4CC4-8508-16AC93E59B80}"/>
                  </a:ext>
                </a:extLst>
              </p14:cNvPr>
              <p14:cNvContentPartPr/>
              <p14:nvPr/>
            </p14:nvContentPartPr>
            <p14:xfrm>
              <a:off x="5016819" y="5882227"/>
              <a:ext cx="360" cy="480"/>
            </p14:xfrm>
          </p:contentPart>
        </mc:Choice>
        <mc:Fallback xmlns="">
          <p:pic>
            <p:nvPicPr>
              <p:cNvPr id="63" name="Ink 62">
                <a:extLst>
                  <a:ext uri="{FF2B5EF4-FFF2-40B4-BE49-F238E27FC236}">
                    <a16:creationId xmlns:a16="http://schemas.microsoft.com/office/drawing/2014/main" id="{C945F9E1-E051-4CC4-8508-16AC93E59B80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007819" y="5870227"/>
                <a:ext cx="18000" cy="24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67" name="Ink 66">
                <a:extLst>
                  <a:ext uri="{FF2B5EF4-FFF2-40B4-BE49-F238E27FC236}">
                    <a16:creationId xmlns:a16="http://schemas.microsoft.com/office/drawing/2014/main" id="{23F45C98-8EFB-4D66-A36D-4EB5D274A5B3}"/>
                  </a:ext>
                </a:extLst>
              </p14:cNvPr>
              <p14:cNvContentPartPr/>
              <p14:nvPr/>
            </p14:nvContentPartPr>
            <p14:xfrm>
              <a:off x="1912179" y="50707"/>
              <a:ext cx="360" cy="480"/>
            </p14:xfrm>
          </p:contentPart>
        </mc:Choice>
        <mc:Fallback xmlns="">
          <p:pic>
            <p:nvPicPr>
              <p:cNvPr id="67" name="Ink 66">
                <a:extLst>
                  <a:ext uri="{FF2B5EF4-FFF2-40B4-BE49-F238E27FC236}">
                    <a16:creationId xmlns:a16="http://schemas.microsoft.com/office/drawing/2014/main" id="{23F45C98-8EFB-4D66-A36D-4EB5D274A5B3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03179" y="38707"/>
                <a:ext cx="18000" cy="24000"/>
              </a:xfrm>
              <a:prstGeom prst="rect">
                <a:avLst/>
              </a:prstGeom>
            </p:spPr>
          </p:pic>
        </mc:Fallback>
      </mc:AlternateContent>
      <p:sp>
        <p:nvSpPr>
          <p:cNvPr id="25" name="TextBox 24">
            <a:extLst>
              <a:ext uri="{FF2B5EF4-FFF2-40B4-BE49-F238E27FC236}">
                <a16:creationId xmlns:a16="http://schemas.microsoft.com/office/drawing/2014/main" id="{A91CF574-9B34-4F35-85D2-8A8E0B5D88F1}"/>
              </a:ext>
            </a:extLst>
          </p:cNvPr>
          <p:cNvSpPr txBox="1"/>
          <p:nvPr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E1880AC-0EDD-4847-AC7D-6E404B926C64}"/>
              </a:ext>
            </a:extLst>
          </p:cNvPr>
          <p:cNvGrpSpPr/>
          <p:nvPr/>
        </p:nvGrpSpPr>
        <p:grpSpPr>
          <a:xfrm>
            <a:off x="-717570" y="1870781"/>
            <a:ext cx="7368536" cy="3116439"/>
            <a:chOff x="-717570" y="1870781"/>
            <a:chExt cx="7368536" cy="3116439"/>
          </a:xfrm>
        </p:grpSpPr>
        <p:sp>
          <p:nvSpPr>
            <p:cNvPr id="26" name="Rectangle: Diagonal Corners Rounded 25">
              <a:extLst>
                <a:ext uri="{FF2B5EF4-FFF2-40B4-BE49-F238E27FC236}">
                  <a16:creationId xmlns:a16="http://schemas.microsoft.com/office/drawing/2014/main" id="{E4CCF16D-970B-446A-B860-F503C06C1625}"/>
                </a:ext>
              </a:extLst>
            </p:cNvPr>
            <p:cNvSpPr/>
            <p:nvPr/>
          </p:nvSpPr>
          <p:spPr>
            <a:xfrm>
              <a:off x="4755229" y="2257766"/>
              <a:ext cx="1894320" cy="1434622"/>
            </a:xfrm>
            <a:prstGeom prst="round2DiagRect">
              <a:avLst>
                <a:gd name="adj1" fmla="val 13272"/>
                <a:gd name="adj2" fmla="val 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tIns="108000" rIns="216000" rtlCol="0" anchor="t" anchorCtr="0"/>
            <a:lstStyle/>
            <a:p>
              <a:pPr defTabSz="914378">
                <a:defRPr/>
              </a:pPr>
              <a:endParaRPr lang="en-US" altLang="zh-CN" sz="1400" b="1" dirty="0">
                <a:solidFill>
                  <a:srgbClr val="FFFFFF"/>
                </a:solidFill>
                <a:latin typeface="Arial"/>
                <a:ea typeface="黑体" panose="02010609060101010101" pitchFamily="49" charset="-122"/>
              </a:endParaRPr>
            </a:p>
          </p:txBody>
        </p:sp>
        <p:sp>
          <p:nvSpPr>
            <p:cNvPr id="27" name="Rectangle: Diagonal Corners Rounded 26">
              <a:extLst>
                <a:ext uri="{FF2B5EF4-FFF2-40B4-BE49-F238E27FC236}">
                  <a16:creationId xmlns:a16="http://schemas.microsoft.com/office/drawing/2014/main" id="{FAE39ACA-FA14-4F03-B4AD-83BFD74C9158}"/>
                </a:ext>
              </a:extLst>
            </p:cNvPr>
            <p:cNvSpPr/>
            <p:nvPr/>
          </p:nvSpPr>
          <p:spPr>
            <a:xfrm>
              <a:off x="2374104" y="2450324"/>
              <a:ext cx="2296903" cy="1024828"/>
            </a:xfrm>
            <a:prstGeom prst="round2DiagRect">
              <a:avLst>
                <a:gd name="adj1" fmla="val 0"/>
                <a:gd name="adj2" fmla="val 18418"/>
              </a:avLst>
            </a:prstGeom>
            <a:solidFill>
              <a:srgbClr val="2799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tIns="108000" rIns="216000" rtlCol="0" anchor="t" anchorCtr="0"/>
            <a:lstStyle/>
            <a:p>
              <a:pPr defTabSz="914378">
                <a:defRPr/>
              </a:pPr>
              <a:endParaRPr lang="en-US" altLang="zh-CN" sz="1400" b="1" dirty="0">
                <a:solidFill>
                  <a:srgbClr val="FFFFFF"/>
                </a:solidFill>
                <a:latin typeface="Arial"/>
                <a:ea typeface="黑体" panose="02010609060101010101" pitchFamily="49" charset="-122"/>
              </a:endParaRPr>
            </a:p>
          </p:txBody>
        </p:sp>
        <p:sp>
          <p:nvSpPr>
            <p:cNvPr id="28" name="Rectangle: Diagonal Corners Rounded 27">
              <a:extLst>
                <a:ext uri="{FF2B5EF4-FFF2-40B4-BE49-F238E27FC236}">
                  <a16:creationId xmlns:a16="http://schemas.microsoft.com/office/drawing/2014/main" id="{10AA963A-1715-43D7-AB55-75D674935BAF}"/>
                </a:ext>
              </a:extLst>
            </p:cNvPr>
            <p:cNvSpPr/>
            <p:nvPr/>
          </p:nvSpPr>
          <p:spPr>
            <a:xfrm>
              <a:off x="-399535" y="2554883"/>
              <a:ext cx="1113725" cy="705910"/>
            </a:xfrm>
            <a:prstGeom prst="round2DiagRect">
              <a:avLst>
                <a:gd name="adj1" fmla="val 23706"/>
                <a:gd name="adj2" fmla="val 0"/>
              </a:avLst>
            </a:prstGeom>
            <a:solidFill>
              <a:srgbClr val="2799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>
                <a:defRPr/>
              </a:pPr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9" name="Rectangle: Diagonal Corners Rounded 28">
              <a:extLst>
                <a:ext uri="{FF2B5EF4-FFF2-40B4-BE49-F238E27FC236}">
                  <a16:creationId xmlns:a16="http://schemas.microsoft.com/office/drawing/2014/main" id="{FEEA491E-A573-4354-A60F-7A17C1539A37}"/>
                </a:ext>
              </a:extLst>
            </p:cNvPr>
            <p:cNvSpPr/>
            <p:nvPr/>
          </p:nvSpPr>
          <p:spPr>
            <a:xfrm>
              <a:off x="-717570" y="3335045"/>
              <a:ext cx="1418214" cy="1114362"/>
            </a:xfrm>
            <a:prstGeom prst="round2DiagRect">
              <a:avLst>
                <a:gd name="adj1" fmla="val 0"/>
                <a:gd name="adj2" fmla="val 15238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>
                <a:defRPr/>
              </a:pPr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0" name="Rectangle: Diagonal Corners Rounded 29">
              <a:extLst>
                <a:ext uri="{FF2B5EF4-FFF2-40B4-BE49-F238E27FC236}">
                  <a16:creationId xmlns:a16="http://schemas.microsoft.com/office/drawing/2014/main" id="{36A189E7-53AB-48FE-9FF1-9F1BF5C9F0BF}"/>
                </a:ext>
              </a:extLst>
            </p:cNvPr>
            <p:cNvSpPr/>
            <p:nvPr/>
          </p:nvSpPr>
          <p:spPr>
            <a:xfrm>
              <a:off x="2944784" y="3552598"/>
              <a:ext cx="1713600" cy="1434622"/>
            </a:xfrm>
            <a:prstGeom prst="round2DiagRect">
              <a:avLst>
                <a:gd name="adj1" fmla="val 18175"/>
                <a:gd name="adj2" fmla="val 0"/>
              </a:avLst>
            </a:prstGeom>
            <a:solidFill>
              <a:srgbClr val="005F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tIns="108000" rIns="216000" rtlCol="0" anchor="t" anchorCtr="0"/>
            <a:lstStyle/>
            <a:p>
              <a:pPr defTabSz="914378">
                <a:defRPr/>
              </a:pPr>
              <a:endParaRPr lang="en-US" altLang="zh-CN" sz="1400" b="1" dirty="0">
                <a:solidFill>
                  <a:srgbClr val="FFFFFF"/>
                </a:solidFill>
                <a:latin typeface="Arial"/>
                <a:ea typeface="黑体" panose="02010609060101010101" pitchFamily="49" charset="-122"/>
              </a:endParaRPr>
            </a:p>
          </p:txBody>
        </p:sp>
        <p:sp>
          <p:nvSpPr>
            <p:cNvPr id="31" name="Rectangle: Diagonal Corners Rounded 30">
              <a:extLst>
                <a:ext uri="{FF2B5EF4-FFF2-40B4-BE49-F238E27FC236}">
                  <a16:creationId xmlns:a16="http://schemas.microsoft.com/office/drawing/2014/main" id="{F84D8B6E-14EC-4BF3-98CA-83B00475A8B6}"/>
                </a:ext>
              </a:extLst>
            </p:cNvPr>
            <p:cNvSpPr/>
            <p:nvPr/>
          </p:nvSpPr>
          <p:spPr>
            <a:xfrm>
              <a:off x="780214" y="2180906"/>
              <a:ext cx="1508407" cy="1294246"/>
            </a:xfrm>
            <a:prstGeom prst="round2DiagRect">
              <a:avLst>
                <a:gd name="adj1" fmla="val 0"/>
                <a:gd name="adj2" fmla="val 14728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tIns="108000" rIns="216000" rtlCol="0" anchor="t" anchorCtr="0"/>
            <a:lstStyle/>
            <a:p>
              <a:pPr defTabSz="914378">
                <a:defRPr/>
              </a:pPr>
              <a:endParaRPr lang="en-US" altLang="zh-CN" sz="1200" dirty="0">
                <a:solidFill>
                  <a:srgbClr val="FFFFFF"/>
                </a:solidFill>
                <a:latin typeface="Arial"/>
                <a:ea typeface="黑体" panose="02010609060101010101" pitchFamily="49" charset="-122"/>
              </a:endParaRPr>
            </a:p>
          </p:txBody>
        </p:sp>
        <p:sp>
          <p:nvSpPr>
            <p:cNvPr id="32" name="Rectangle: Diagonal Corners Rounded 31">
              <a:extLst>
                <a:ext uri="{FF2B5EF4-FFF2-40B4-BE49-F238E27FC236}">
                  <a16:creationId xmlns:a16="http://schemas.microsoft.com/office/drawing/2014/main" id="{CF10D7D2-1352-4B06-A7A7-8CC248730698}"/>
                </a:ext>
              </a:extLst>
            </p:cNvPr>
            <p:cNvSpPr/>
            <p:nvPr/>
          </p:nvSpPr>
          <p:spPr>
            <a:xfrm>
              <a:off x="780214" y="3548815"/>
              <a:ext cx="2087932" cy="1114360"/>
            </a:xfrm>
            <a:prstGeom prst="round2DiagRect">
              <a:avLst>
                <a:gd name="adj1" fmla="val 19298"/>
                <a:gd name="adj2" fmla="val 0"/>
              </a:avLst>
            </a:prstGeom>
            <a:solidFill>
              <a:srgbClr val="2799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216000" tIns="108000" rIns="216000" rtlCol="0" anchor="t" anchorCtr="0"/>
            <a:lstStyle/>
            <a:p>
              <a:pPr defTabSz="914378">
                <a:defRPr/>
              </a:pPr>
              <a:endParaRPr lang="en-US" altLang="zh-CN" sz="1200" b="1" dirty="0">
                <a:solidFill>
                  <a:srgbClr val="FFFFFF"/>
                </a:solidFill>
                <a:latin typeface="Arial"/>
                <a:ea typeface="黑体" panose="02010609060101010101" pitchFamily="49" charset="-122"/>
              </a:endParaRPr>
            </a:p>
          </p:txBody>
        </p:sp>
        <p:sp>
          <p:nvSpPr>
            <p:cNvPr id="33" name="Rectangle: Diagonal Corners Rounded 32">
              <a:extLst>
                <a:ext uri="{FF2B5EF4-FFF2-40B4-BE49-F238E27FC236}">
                  <a16:creationId xmlns:a16="http://schemas.microsoft.com/office/drawing/2014/main" id="{34F04820-64AC-47D0-8E2B-0682AA0DECEA}"/>
                </a:ext>
              </a:extLst>
            </p:cNvPr>
            <p:cNvSpPr/>
            <p:nvPr/>
          </p:nvSpPr>
          <p:spPr>
            <a:xfrm>
              <a:off x="4756645" y="3772775"/>
              <a:ext cx="1894321" cy="811468"/>
            </a:xfrm>
            <a:prstGeom prst="round2DiagRect">
              <a:avLst>
                <a:gd name="adj1" fmla="val 0"/>
                <a:gd name="adj2" fmla="val 19156"/>
              </a:avLst>
            </a:prstGeom>
            <a:solidFill>
              <a:srgbClr val="2799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tIns="108000" rIns="216000" rtlCol="0" anchor="t" anchorCtr="0"/>
            <a:lstStyle/>
            <a:p>
              <a:pPr algn="ctr" defTabSz="914378">
                <a:defRPr/>
              </a:pPr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4" name="Rectangle: Diagonal Corners Rounded 33">
              <a:extLst>
                <a:ext uri="{FF2B5EF4-FFF2-40B4-BE49-F238E27FC236}">
                  <a16:creationId xmlns:a16="http://schemas.microsoft.com/office/drawing/2014/main" id="{6CE40CE2-2578-4D1E-A57D-466E4C501B8F}"/>
                </a:ext>
              </a:extLst>
            </p:cNvPr>
            <p:cNvSpPr/>
            <p:nvPr/>
          </p:nvSpPr>
          <p:spPr>
            <a:xfrm>
              <a:off x="2374104" y="1870781"/>
              <a:ext cx="1113725" cy="502216"/>
            </a:xfrm>
            <a:prstGeom prst="round2DiagRect">
              <a:avLst>
                <a:gd name="adj1" fmla="val 31453"/>
                <a:gd name="adj2" fmla="val 0"/>
              </a:avLst>
            </a:prstGeom>
            <a:solidFill>
              <a:srgbClr val="005F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>
                <a:defRPr/>
              </a:pPr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</p:grp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F20B37B-771D-4CF9-A4B9-B4172A2DC9A2}"/>
              </a:ext>
            </a:extLst>
          </p:cNvPr>
          <p:cNvCxnSpPr/>
          <p:nvPr userDrawn="1"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2FFB077-D03B-4DB7-A042-90B49D0116D8}"/>
              </a:ext>
            </a:extLst>
          </p:cNvPr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22" name="Ink 21">
                <a:extLst>
                  <a:ext uri="{FF2B5EF4-FFF2-40B4-BE49-F238E27FC236}">
                    <a16:creationId xmlns:a16="http://schemas.microsoft.com/office/drawing/2014/main" id="{2070B16B-0287-42C0-BB23-C499E0D37FB6}"/>
                  </a:ext>
                </a:extLst>
              </p14:cNvPr>
              <p14:cNvContentPartPr/>
              <p14:nvPr userDrawn="1"/>
            </p14:nvContentPartPr>
            <p14:xfrm>
              <a:off x="5016819" y="5882227"/>
              <a:ext cx="360" cy="480"/>
            </p14:xfrm>
          </p:contentPart>
        </mc:Choice>
        <mc:Fallback xmlns="">
          <p:pic>
            <p:nvPicPr>
              <p:cNvPr id="63" name="Ink 62">
                <a:extLst>
                  <a:ext uri="{FF2B5EF4-FFF2-40B4-BE49-F238E27FC236}">
                    <a16:creationId xmlns:a16="http://schemas.microsoft.com/office/drawing/2014/main" id="{C945F9E1-E051-4CC4-8508-16AC93E59B80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007819" y="5870227"/>
                <a:ext cx="18000" cy="24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23" name="Ink 22">
                <a:extLst>
                  <a:ext uri="{FF2B5EF4-FFF2-40B4-BE49-F238E27FC236}">
                    <a16:creationId xmlns:a16="http://schemas.microsoft.com/office/drawing/2014/main" id="{25F4E9AE-D1E3-4300-9B80-BD51C534EE2B}"/>
                  </a:ext>
                </a:extLst>
              </p14:cNvPr>
              <p14:cNvContentPartPr/>
              <p14:nvPr userDrawn="1"/>
            </p14:nvContentPartPr>
            <p14:xfrm>
              <a:off x="1912179" y="50707"/>
              <a:ext cx="360" cy="480"/>
            </p14:xfrm>
          </p:contentPart>
        </mc:Choice>
        <mc:Fallback xmlns="">
          <p:pic>
            <p:nvPicPr>
              <p:cNvPr id="67" name="Ink 66">
                <a:extLst>
                  <a:ext uri="{FF2B5EF4-FFF2-40B4-BE49-F238E27FC236}">
                    <a16:creationId xmlns:a16="http://schemas.microsoft.com/office/drawing/2014/main" id="{23F45C98-8EFB-4D66-A36D-4EB5D274A5B3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903179" y="38707"/>
                <a:ext cx="18000" cy="24000"/>
              </a:xfrm>
              <a:prstGeom prst="rect">
                <a:avLst/>
              </a:prstGeom>
            </p:spPr>
          </p:pic>
        </mc:Fallback>
      </mc:AlternateContent>
      <p:sp>
        <p:nvSpPr>
          <p:cNvPr id="24" name="TextBox 23">
            <a:extLst>
              <a:ext uri="{FF2B5EF4-FFF2-40B4-BE49-F238E27FC236}">
                <a16:creationId xmlns:a16="http://schemas.microsoft.com/office/drawing/2014/main" id="{3709409B-348E-47F5-887B-9CFFFB4953A0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252D124-4D24-43EF-8626-267CE61E9177}"/>
              </a:ext>
            </a:extLst>
          </p:cNvPr>
          <p:cNvGrpSpPr/>
          <p:nvPr userDrawn="1"/>
        </p:nvGrpSpPr>
        <p:grpSpPr>
          <a:xfrm>
            <a:off x="-717570" y="1870781"/>
            <a:ext cx="7368536" cy="3116439"/>
            <a:chOff x="-717570" y="1870781"/>
            <a:chExt cx="7368536" cy="3116439"/>
          </a:xfrm>
        </p:grpSpPr>
        <p:sp>
          <p:nvSpPr>
            <p:cNvPr id="36" name="Rectangle: Diagonal Corners Rounded 35">
              <a:extLst>
                <a:ext uri="{FF2B5EF4-FFF2-40B4-BE49-F238E27FC236}">
                  <a16:creationId xmlns:a16="http://schemas.microsoft.com/office/drawing/2014/main" id="{28E94B6B-E198-4128-BBFF-5D4E466DD5B8}"/>
                </a:ext>
              </a:extLst>
            </p:cNvPr>
            <p:cNvSpPr/>
            <p:nvPr userDrawn="1"/>
          </p:nvSpPr>
          <p:spPr>
            <a:xfrm>
              <a:off x="4755229" y="2257766"/>
              <a:ext cx="1894320" cy="1434622"/>
            </a:xfrm>
            <a:prstGeom prst="round2DiagRect">
              <a:avLst>
                <a:gd name="adj1" fmla="val 13272"/>
                <a:gd name="adj2" fmla="val 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tIns="108000" rIns="216000" rtlCol="0" anchor="t" anchorCtr="0"/>
            <a:lstStyle/>
            <a:p>
              <a:pPr defTabSz="914378">
                <a:defRPr/>
              </a:pPr>
              <a:endParaRPr lang="en-US" altLang="zh-CN" sz="1400" b="1" dirty="0">
                <a:solidFill>
                  <a:srgbClr val="FFFFFF"/>
                </a:solidFill>
                <a:latin typeface="Arial"/>
                <a:ea typeface="黑体" panose="02010609060101010101" pitchFamily="49" charset="-122"/>
              </a:endParaRPr>
            </a:p>
          </p:txBody>
        </p:sp>
        <p:sp>
          <p:nvSpPr>
            <p:cNvPr id="37" name="Rectangle: Diagonal Corners Rounded 36">
              <a:extLst>
                <a:ext uri="{FF2B5EF4-FFF2-40B4-BE49-F238E27FC236}">
                  <a16:creationId xmlns:a16="http://schemas.microsoft.com/office/drawing/2014/main" id="{6E52E94E-414A-4CA9-A40A-27C3F1FFF477}"/>
                </a:ext>
              </a:extLst>
            </p:cNvPr>
            <p:cNvSpPr/>
            <p:nvPr userDrawn="1"/>
          </p:nvSpPr>
          <p:spPr>
            <a:xfrm>
              <a:off x="2374104" y="2450324"/>
              <a:ext cx="2296903" cy="1024828"/>
            </a:xfrm>
            <a:prstGeom prst="round2DiagRect">
              <a:avLst>
                <a:gd name="adj1" fmla="val 0"/>
                <a:gd name="adj2" fmla="val 18418"/>
              </a:avLst>
            </a:prstGeom>
            <a:solidFill>
              <a:srgbClr val="2799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tIns="108000" rIns="216000" rtlCol="0" anchor="t" anchorCtr="0"/>
            <a:lstStyle/>
            <a:p>
              <a:pPr defTabSz="914378">
                <a:defRPr/>
              </a:pPr>
              <a:endParaRPr lang="en-US" altLang="zh-CN" sz="1400" b="1" dirty="0">
                <a:solidFill>
                  <a:srgbClr val="FFFFFF"/>
                </a:solidFill>
                <a:latin typeface="Arial"/>
                <a:ea typeface="黑体" panose="02010609060101010101" pitchFamily="49" charset="-122"/>
              </a:endParaRPr>
            </a:p>
          </p:txBody>
        </p:sp>
        <p:sp>
          <p:nvSpPr>
            <p:cNvPr id="38" name="Rectangle: Diagonal Corners Rounded 37">
              <a:extLst>
                <a:ext uri="{FF2B5EF4-FFF2-40B4-BE49-F238E27FC236}">
                  <a16:creationId xmlns:a16="http://schemas.microsoft.com/office/drawing/2014/main" id="{86DAFD5A-91F4-49FE-980B-3F66CE9C7CDC}"/>
                </a:ext>
              </a:extLst>
            </p:cNvPr>
            <p:cNvSpPr/>
            <p:nvPr userDrawn="1"/>
          </p:nvSpPr>
          <p:spPr>
            <a:xfrm>
              <a:off x="-399535" y="2554883"/>
              <a:ext cx="1113725" cy="705910"/>
            </a:xfrm>
            <a:prstGeom prst="round2DiagRect">
              <a:avLst>
                <a:gd name="adj1" fmla="val 23706"/>
                <a:gd name="adj2" fmla="val 0"/>
              </a:avLst>
            </a:prstGeom>
            <a:solidFill>
              <a:srgbClr val="2799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>
                <a:defRPr/>
              </a:pPr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9" name="Rectangle: Diagonal Corners Rounded 38">
              <a:extLst>
                <a:ext uri="{FF2B5EF4-FFF2-40B4-BE49-F238E27FC236}">
                  <a16:creationId xmlns:a16="http://schemas.microsoft.com/office/drawing/2014/main" id="{D42D66BD-EA90-4DFD-8D43-86A0272FE38D}"/>
                </a:ext>
              </a:extLst>
            </p:cNvPr>
            <p:cNvSpPr/>
            <p:nvPr userDrawn="1"/>
          </p:nvSpPr>
          <p:spPr>
            <a:xfrm>
              <a:off x="-717570" y="3335045"/>
              <a:ext cx="1418214" cy="1114362"/>
            </a:xfrm>
            <a:prstGeom prst="round2DiagRect">
              <a:avLst>
                <a:gd name="adj1" fmla="val 0"/>
                <a:gd name="adj2" fmla="val 15238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>
                <a:defRPr/>
              </a:pPr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0" name="Rectangle: Diagonal Corners Rounded 39">
              <a:extLst>
                <a:ext uri="{FF2B5EF4-FFF2-40B4-BE49-F238E27FC236}">
                  <a16:creationId xmlns:a16="http://schemas.microsoft.com/office/drawing/2014/main" id="{7C19B7C0-1BA8-47F2-97C0-9422B81E839C}"/>
                </a:ext>
              </a:extLst>
            </p:cNvPr>
            <p:cNvSpPr/>
            <p:nvPr userDrawn="1"/>
          </p:nvSpPr>
          <p:spPr>
            <a:xfrm>
              <a:off x="2944784" y="3552598"/>
              <a:ext cx="1713600" cy="1434622"/>
            </a:xfrm>
            <a:prstGeom prst="round2DiagRect">
              <a:avLst>
                <a:gd name="adj1" fmla="val 18175"/>
                <a:gd name="adj2" fmla="val 0"/>
              </a:avLst>
            </a:prstGeom>
            <a:solidFill>
              <a:srgbClr val="005F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tIns="108000" rIns="216000" rtlCol="0" anchor="t" anchorCtr="0"/>
            <a:lstStyle/>
            <a:p>
              <a:pPr defTabSz="914378">
                <a:defRPr/>
              </a:pPr>
              <a:endParaRPr lang="en-US" altLang="zh-CN" sz="1400" b="1" dirty="0">
                <a:solidFill>
                  <a:srgbClr val="FFFFFF"/>
                </a:solidFill>
                <a:latin typeface="Arial"/>
                <a:ea typeface="黑体" panose="02010609060101010101" pitchFamily="49" charset="-122"/>
              </a:endParaRPr>
            </a:p>
          </p:txBody>
        </p:sp>
        <p:sp>
          <p:nvSpPr>
            <p:cNvPr id="41" name="Rectangle: Diagonal Corners Rounded 40">
              <a:extLst>
                <a:ext uri="{FF2B5EF4-FFF2-40B4-BE49-F238E27FC236}">
                  <a16:creationId xmlns:a16="http://schemas.microsoft.com/office/drawing/2014/main" id="{EBE42CA9-A4A6-418D-93A6-2F85E739CBBA}"/>
                </a:ext>
              </a:extLst>
            </p:cNvPr>
            <p:cNvSpPr/>
            <p:nvPr userDrawn="1"/>
          </p:nvSpPr>
          <p:spPr>
            <a:xfrm>
              <a:off x="780214" y="2180906"/>
              <a:ext cx="1508407" cy="1294246"/>
            </a:xfrm>
            <a:prstGeom prst="round2DiagRect">
              <a:avLst>
                <a:gd name="adj1" fmla="val 0"/>
                <a:gd name="adj2" fmla="val 14728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tIns="108000" rIns="216000" rtlCol="0" anchor="t" anchorCtr="0"/>
            <a:lstStyle/>
            <a:p>
              <a:pPr defTabSz="914378">
                <a:defRPr/>
              </a:pPr>
              <a:endParaRPr lang="en-US" altLang="zh-CN" sz="1200" dirty="0">
                <a:solidFill>
                  <a:srgbClr val="FFFFFF"/>
                </a:solidFill>
                <a:latin typeface="Arial"/>
                <a:ea typeface="黑体" panose="02010609060101010101" pitchFamily="49" charset="-122"/>
              </a:endParaRPr>
            </a:p>
          </p:txBody>
        </p:sp>
        <p:sp>
          <p:nvSpPr>
            <p:cNvPr id="42" name="Rectangle: Diagonal Corners Rounded 41">
              <a:extLst>
                <a:ext uri="{FF2B5EF4-FFF2-40B4-BE49-F238E27FC236}">
                  <a16:creationId xmlns:a16="http://schemas.microsoft.com/office/drawing/2014/main" id="{EEC20CE7-7778-429C-B79F-06F60FE25D3E}"/>
                </a:ext>
              </a:extLst>
            </p:cNvPr>
            <p:cNvSpPr/>
            <p:nvPr userDrawn="1"/>
          </p:nvSpPr>
          <p:spPr>
            <a:xfrm>
              <a:off x="780214" y="3548815"/>
              <a:ext cx="2087932" cy="1114360"/>
            </a:xfrm>
            <a:prstGeom prst="round2DiagRect">
              <a:avLst>
                <a:gd name="adj1" fmla="val 19298"/>
                <a:gd name="adj2" fmla="val 0"/>
              </a:avLst>
            </a:prstGeom>
            <a:solidFill>
              <a:srgbClr val="2799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216000" tIns="108000" rIns="216000" rtlCol="0" anchor="t" anchorCtr="0"/>
            <a:lstStyle/>
            <a:p>
              <a:pPr defTabSz="914378">
                <a:defRPr/>
              </a:pPr>
              <a:endParaRPr lang="en-US" altLang="zh-CN" sz="1200" b="1" dirty="0">
                <a:solidFill>
                  <a:srgbClr val="FFFFFF"/>
                </a:solidFill>
                <a:latin typeface="Arial"/>
                <a:ea typeface="黑体" panose="02010609060101010101" pitchFamily="49" charset="-122"/>
              </a:endParaRPr>
            </a:p>
          </p:txBody>
        </p:sp>
        <p:sp>
          <p:nvSpPr>
            <p:cNvPr id="43" name="Rectangle: Diagonal Corners Rounded 42">
              <a:extLst>
                <a:ext uri="{FF2B5EF4-FFF2-40B4-BE49-F238E27FC236}">
                  <a16:creationId xmlns:a16="http://schemas.microsoft.com/office/drawing/2014/main" id="{F1633BBE-06EA-4908-B119-FEADAC6F61FA}"/>
                </a:ext>
              </a:extLst>
            </p:cNvPr>
            <p:cNvSpPr/>
            <p:nvPr userDrawn="1"/>
          </p:nvSpPr>
          <p:spPr>
            <a:xfrm>
              <a:off x="4756645" y="3772775"/>
              <a:ext cx="1894321" cy="811468"/>
            </a:xfrm>
            <a:prstGeom prst="round2DiagRect">
              <a:avLst>
                <a:gd name="adj1" fmla="val 0"/>
                <a:gd name="adj2" fmla="val 19156"/>
              </a:avLst>
            </a:prstGeom>
            <a:solidFill>
              <a:srgbClr val="2799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tIns="108000" rIns="216000" rtlCol="0" anchor="t" anchorCtr="0"/>
            <a:lstStyle/>
            <a:p>
              <a:pPr algn="ctr" defTabSz="914378">
                <a:defRPr/>
              </a:pPr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4" name="Rectangle: Diagonal Corners Rounded 43">
              <a:extLst>
                <a:ext uri="{FF2B5EF4-FFF2-40B4-BE49-F238E27FC236}">
                  <a16:creationId xmlns:a16="http://schemas.microsoft.com/office/drawing/2014/main" id="{4E7ABDAD-CEF3-4FB7-8491-64078E1F4C5A}"/>
                </a:ext>
              </a:extLst>
            </p:cNvPr>
            <p:cNvSpPr/>
            <p:nvPr userDrawn="1"/>
          </p:nvSpPr>
          <p:spPr>
            <a:xfrm>
              <a:off x="2374104" y="1870781"/>
              <a:ext cx="1113725" cy="502216"/>
            </a:xfrm>
            <a:prstGeom prst="round2DiagRect">
              <a:avLst>
                <a:gd name="adj1" fmla="val 31453"/>
                <a:gd name="adj2" fmla="val 0"/>
              </a:avLst>
            </a:prstGeom>
            <a:solidFill>
              <a:srgbClr val="005F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>
                <a:defRPr/>
              </a:pPr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163276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header 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536" y="86400"/>
            <a:ext cx="8229600" cy="694800"/>
          </a:xfrm>
        </p:spPr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altLang="en-US" dirty="0"/>
              <a:t>Click to edit slide title</a:t>
            </a:r>
            <a:endParaRPr lang="en-US" dirty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2" y="649800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8000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97999B"/>
                </a:solidFill>
                <a:cs typeface="Arial" charset="0"/>
              </a:rPr>
              <a:t>Footer</a:t>
            </a:r>
            <a:endParaRPr lang="en-US" dirty="0">
              <a:solidFill>
                <a:srgbClr val="FF0000"/>
              </a:solidFill>
              <a:cs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F678D3-731A-42D0-A5C1-213A4A7A0942}"/>
              </a:ext>
            </a:extLst>
          </p:cNvPr>
          <p:cNvSpPr txBox="1"/>
          <p:nvPr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58F5474-9E9C-4647-8B90-BB5F6C87DC93}"/>
              </a:ext>
            </a:extLst>
          </p:cNvPr>
          <p:cNvCxnSpPr/>
          <p:nvPr userDrawn="1"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D336305-3977-4422-8217-C2FE0D4812BD}"/>
              </a:ext>
            </a:extLst>
          </p:cNvPr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7A6A35A9-C138-4315-84BC-75E897226496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406021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2" y="649800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8000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97999B"/>
                </a:solidFill>
                <a:cs typeface="Arial" charset="0"/>
              </a:rPr>
              <a:t>Footer</a:t>
            </a:r>
            <a:endParaRPr lang="en-US" dirty="0">
              <a:solidFill>
                <a:srgbClr val="FF0000"/>
              </a:solidFill>
              <a:cs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F678D3-731A-42D0-A5C1-213A4A7A0942}"/>
              </a:ext>
            </a:extLst>
          </p:cNvPr>
          <p:cNvSpPr txBox="1"/>
          <p:nvPr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69E5F65-7F16-43D1-9C3E-3E16082554A1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305382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6709" y="918000"/>
            <a:ext cx="8230092" cy="2988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5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536" y="86400"/>
            <a:ext cx="8229600" cy="694800"/>
          </a:xfrm>
        </p:spPr>
        <p:txBody>
          <a:bodyPr/>
          <a:lstStyle/>
          <a:p>
            <a:r>
              <a:rPr lang="en-US" dirty="0"/>
              <a:t>Click to edit slide title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3" y="649703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8000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>
              <a:cs typeface="Arial" charset="0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9E6F39F-C2EF-4563-801B-86EE5C091A8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" y="1678504"/>
            <a:ext cx="705668" cy="8676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22B57D9-F1A1-401D-9CA9-976E7BFE10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2626956"/>
            <a:ext cx="705668" cy="92333"/>
          </a:xfrm>
        </p:spPr>
        <p:txBody>
          <a:bodyPr tIns="0" bIns="0">
            <a:spAutoFit/>
          </a:bodyPr>
          <a:lstStyle>
            <a:lvl1pPr marL="0" indent="0">
              <a:buNone/>
              <a:defRPr sz="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396FA87C-F9FE-498B-BBC0-B6E96C2914F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800670" y="1678504"/>
            <a:ext cx="705668" cy="8676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C498B4D9-DF96-4B9D-8DA7-50FE858A309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00670" y="2626956"/>
            <a:ext cx="705668" cy="92333"/>
          </a:xfrm>
        </p:spPr>
        <p:txBody>
          <a:bodyPr tIns="0" bIns="0">
            <a:spAutoFit/>
          </a:bodyPr>
          <a:lstStyle>
            <a:lvl1pPr marL="0" indent="0">
              <a:buNone/>
              <a:defRPr sz="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0D94E20C-EFE3-451A-B52A-3EDCAD9B5B0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57200" y="3221799"/>
            <a:ext cx="705668" cy="8676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CE638367-63E6-48BA-8FFA-AFBDE4CAC69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7200" y="4170250"/>
            <a:ext cx="705668" cy="92333"/>
          </a:xfrm>
        </p:spPr>
        <p:txBody>
          <a:bodyPr tIns="0" bIns="0">
            <a:spAutoFit/>
          </a:bodyPr>
          <a:lstStyle>
            <a:lvl1pPr marL="0" indent="0">
              <a:buNone/>
              <a:defRPr sz="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BFB1206D-99C4-4891-B0FC-B028629FB78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800670" y="3221799"/>
            <a:ext cx="705668" cy="8676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7E1D37C-082F-4AB5-9E53-9296312B6F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800670" y="4170250"/>
            <a:ext cx="705668" cy="92333"/>
          </a:xfrm>
        </p:spPr>
        <p:txBody>
          <a:bodyPr tIns="0" bIns="0">
            <a:spAutoFit/>
          </a:bodyPr>
          <a:lstStyle>
            <a:lvl1pPr marL="0" indent="0">
              <a:buNone/>
              <a:defRPr sz="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0B714431-5971-4D98-9184-F8C5C1F0E66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034488" y="3221799"/>
            <a:ext cx="705668" cy="8676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98FE3DBF-57C8-46E5-9975-94AB11A4E05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045858" y="4170250"/>
            <a:ext cx="705668" cy="92333"/>
          </a:xfrm>
        </p:spPr>
        <p:txBody>
          <a:bodyPr tIns="0" bIns="0">
            <a:spAutoFit/>
          </a:bodyPr>
          <a:lstStyle>
            <a:lvl1pPr marL="0" indent="0">
              <a:buNone/>
              <a:defRPr sz="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7DE959EE-530E-46D8-97EA-86639EE6BA32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267815" y="3221799"/>
            <a:ext cx="705668" cy="8676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A6495EC9-FC83-4103-B5BA-9A12CE9ECB5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67815" y="4170250"/>
            <a:ext cx="705668" cy="92333"/>
          </a:xfrm>
        </p:spPr>
        <p:txBody>
          <a:bodyPr tIns="0" bIns="0">
            <a:spAutoFit/>
          </a:bodyPr>
          <a:lstStyle>
            <a:lvl1pPr marL="0" indent="0">
              <a:buNone/>
              <a:defRPr sz="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4624544F-ADCA-458E-938D-9AD98C7FC9F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57200" y="4765093"/>
            <a:ext cx="705668" cy="8676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52D270E5-6C13-4A68-87BA-91166A6FBC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7200" y="5713544"/>
            <a:ext cx="705668" cy="92333"/>
          </a:xfrm>
        </p:spPr>
        <p:txBody>
          <a:bodyPr tIns="0" bIns="0">
            <a:spAutoFit/>
          </a:bodyPr>
          <a:lstStyle>
            <a:lvl1pPr marL="0" indent="0">
              <a:buNone/>
              <a:defRPr sz="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8E2E8B9A-A1C1-487E-B994-4AB2FF9C8566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800670" y="4765093"/>
            <a:ext cx="705668" cy="8676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FC721A9D-E785-440E-95DC-C43602F5718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00670" y="5713544"/>
            <a:ext cx="705668" cy="92333"/>
          </a:xfrm>
        </p:spPr>
        <p:txBody>
          <a:bodyPr tIns="0" bIns="0">
            <a:spAutoFit/>
          </a:bodyPr>
          <a:lstStyle>
            <a:lvl1pPr marL="0" indent="0">
              <a:buNone/>
              <a:defRPr sz="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7F9E3EEF-8792-4480-9BAB-0DB5DE28602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045858" y="4765093"/>
            <a:ext cx="705668" cy="8676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A247299B-95F3-4681-A05A-BE8E36E1F38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045366" y="5713544"/>
            <a:ext cx="705668" cy="92333"/>
          </a:xfrm>
        </p:spPr>
        <p:txBody>
          <a:bodyPr tIns="0" bIns="0">
            <a:spAutoFit/>
          </a:bodyPr>
          <a:lstStyle>
            <a:lvl1pPr marL="0" indent="0">
              <a:buNone/>
              <a:defRPr sz="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3C253DE7-21FD-466F-806C-2BBA1CF44262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267815" y="4765093"/>
            <a:ext cx="705668" cy="8676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FC273BCC-4A69-43AC-A3FD-CBF08161EA5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67815" y="5713544"/>
            <a:ext cx="705668" cy="92333"/>
          </a:xfrm>
        </p:spPr>
        <p:txBody>
          <a:bodyPr tIns="0" bIns="0">
            <a:spAutoFit/>
          </a:bodyPr>
          <a:lstStyle>
            <a:lvl1pPr marL="0" indent="0">
              <a:buNone/>
              <a:defRPr sz="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3CA25341-97BF-4F4E-AA97-4E3EA551C588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6898" y="4759561"/>
            <a:ext cx="705668" cy="8676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0594A4CD-84D1-45F1-B2BB-4132E4059A9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36898" y="5713544"/>
            <a:ext cx="705668" cy="92333"/>
          </a:xfrm>
        </p:spPr>
        <p:txBody>
          <a:bodyPr tIns="0" bIns="0">
            <a:spAutoFit/>
          </a:bodyPr>
          <a:lstStyle>
            <a:lvl1pPr marL="0" indent="0">
              <a:buNone/>
              <a:defRPr sz="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F2954F2-261F-4DA0-A843-6BE71804B1DC}"/>
              </a:ext>
            </a:extLst>
          </p:cNvPr>
          <p:cNvSpPr txBox="1"/>
          <p:nvPr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15C84FA2-D059-4FC4-90CE-4AF31C301722}"/>
              </a:ext>
            </a:extLst>
          </p:cNvPr>
          <p:cNvCxnSpPr/>
          <p:nvPr userDrawn="1"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958B0B9A-CAC4-4093-9820-8A3981371533}"/>
              </a:ext>
            </a:extLst>
          </p:cNvPr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446767D8-BEEA-48C5-B794-A2516D40C497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681695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536" y="86400"/>
            <a:ext cx="8229600" cy="694800"/>
          </a:xfrm>
        </p:spPr>
        <p:txBody>
          <a:bodyPr/>
          <a:lstStyle>
            <a:lvl1pPr>
              <a:defRPr>
                <a:solidFill>
                  <a:srgbClr val="005F86"/>
                </a:solidFill>
              </a:defRPr>
            </a:lvl1pPr>
          </a:lstStyle>
          <a:p>
            <a:r>
              <a:rPr lang="en-US" altLang="en-US" dirty="0"/>
              <a:t>Click to edit slide title</a:t>
            </a:r>
            <a:endParaRPr lang="en-US" dirty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3" y="649703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6089"/>
            <a:ext cx="539496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GB" dirty="0">
              <a:solidFill>
                <a:srgbClr val="97999B"/>
              </a:solidFill>
              <a:cs typeface="Arial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D13F1EA-8214-45D7-95B9-E9DC867DC7B9}"/>
              </a:ext>
            </a:extLst>
          </p:cNvPr>
          <p:cNvSpPr txBox="1"/>
          <p:nvPr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F8222A0-B1AD-4F88-8F8E-7F8B8F73F889}"/>
              </a:ext>
            </a:extLst>
          </p:cNvPr>
          <p:cNvGrpSpPr/>
          <p:nvPr/>
        </p:nvGrpSpPr>
        <p:grpSpPr>
          <a:xfrm>
            <a:off x="1343427" y="270945"/>
            <a:ext cx="6457146" cy="6458400"/>
            <a:chOff x="1997691" y="178389"/>
            <a:chExt cx="4913153" cy="5486482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5162175-61B8-4B4E-9FEC-65E43A96C419}"/>
                </a:ext>
              </a:extLst>
            </p:cNvPr>
            <p:cNvSpPr txBox="1"/>
            <p:nvPr/>
          </p:nvSpPr>
          <p:spPr>
            <a:xfrm>
              <a:off x="4425821" y="1556054"/>
              <a:ext cx="2485023" cy="41088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35000" b="1" dirty="0">
                  <a:solidFill>
                    <a:srgbClr val="279989"/>
                  </a:solidFill>
                  <a:latin typeface="+mj-lt"/>
                </a:rPr>
                <a:t>A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EF3975D-187D-4B5D-BD91-B51666D374FE}"/>
                </a:ext>
              </a:extLst>
            </p:cNvPr>
            <p:cNvSpPr txBox="1"/>
            <p:nvPr/>
          </p:nvSpPr>
          <p:spPr>
            <a:xfrm>
              <a:off x="3393529" y="178389"/>
              <a:ext cx="2485023" cy="41088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35000" b="1" dirty="0">
                  <a:solidFill>
                    <a:srgbClr val="007681"/>
                  </a:solidFill>
                  <a:latin typeface="+mj-lt"/>
                </a:rPr>
                <a:t>&amp;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BF7530B-843D-47B0-9BE3-93390E4D3784}"/>
                </a:ext>
              </a:extLst>
            </p:cNvPr>
            <p:cNvSpPr txBox="1"/>
            <p:nvPr/>
          </p:nvSpPr>
          <p:spPr>
            <a:xfrm>
              <a:off x="1997691" y="901749"/>
              <a:ext cx="2485023" cy="41088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35000" b="1" dirty="0">
                  <a:solidFill>
                    <a:srgbClr val="005F86"/>
                  </a:solidFill>
                  <a:latin typeface="+mj-lt"/>
                </a:rPr>
                <a:t>Q</a:t>
              </a:r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84C7F91-0570-466A-9F49-8E1F33889D7B}"/>
              </a:ext>
            </a:extLst>
          </p:cNvPr>
          <p:cNvCxnSpPr/>
          <p:nvPr userDrawn="1"/>
        </p:nvCxnSpPr>
        <p:spPr>
          <a:xfrm>
            <a:off x="457200" y="781200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E21A369-D58F-4854-AF6F-A909BAEB3471}"/>
              </a:ext>
            </a:extLst>
          </p:cNvPr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9741654-6429-42F0-BDF3-EFF4002C78B6}"/>
              </a:ext>
            </a:extLst>
          </p:cNvPr>
          <p:cNvSpPr txBox="1"/>
          <p:nvPr userDrawn="1"/>
        </p:nvSpPr>
        <p:spPr>
          <a:xfrm>
            <a:off x="5673712" y="6497038"/>
            <a:ext cx="240467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800" baseline="0" dirty="0">
                <a:solidFill>
                  <a:srgbClr val="959595"/>
                </a:solidFill>
                <a:cs typeface="Arial" pitchFamily="34" charset="0"/>
              </a:rPr>
              <a:t>2022</a:t>
            </a:r>
            <a:r>
              <a:rPr lang="en-US" altLang="en-US" sz="800" baseline="0" dirty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800" baseline="0" dirty="0">
              <a:cs typeface="Arial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19BDC7F-8C33-4897-A3CA-053848BE5C92}"/>
              </a:ext>
            </a:extLst>
          </p:cNvPr>
          <p:cNvGrpSpPr/>
          <p:nvPr userDrawn="1"/>
        </p:nvGrpSpPr>
        <p:grpSpPr>
          <a:xfrm>
            <a:off x="1343427" y="270945"/>
            <a:ext cx="6457146" cy="6458400"/>
            <a:chOff x="1997691" y="178389"/>
            <a:chExt cx="4913153" cy="5486482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72259072-CBDE-4DC6-B65A-31DE06326244}"/>
                </a:ext>
              </a:extLst>
            </p:cNvPr>
            <p:cNvSpPr txBox="1"/>
            <p:nvPr userDrawn="1"/>
          </p:nvSpPr>
          <p:spPr>
            <a:xfrm>
              <a:off x="4425821" y="1556054"/>
              <a:ext cx="2485023" cy="41088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35000" b="1" dirty="0">
                  <a:solidFill>
                    <a:srgbClr val="279989"/>
                  </a:solidFill>
                  <a:latin typeface="+mj-lt"/>
                </a:rPr>
                <a:t>A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442038D-A7F6-4754-BC8E-85DC5FCEB811}"/>
                </a:ext>
              </a:extLst>
            </p:cNvPr>
            <p:cNvSpPr txBox="1"/>
            <p:nvPr userDrawn="1"/>
          </p:nvSpPr>
          <p:spPr>
            <a:xfrm>
              <a:off x="3393529" y="178389"/>
              <a:ext cx="2485023" cy="41088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35000" b="1" dirty="0">
                  <a:solidFill>
                    <a:srgbClr val="007681"/>
                  </a:solidFill>
                  <a:latin typeface="+mj-lt"/>
                </a:rPr>
                <a:t>&amp;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48BC34B-7217-415B-B551-1CD40D954F52}"/>
                </a:ext>
              </a:extLst>
            </p:cNvPr>
            <p:cNvSpPr txBox="1"/>
            <p:nvPr userDrawn="1"/>
          </p:nvSpPr>
          <p:spPr>
            <a:xfrm>
              <a:off x="1997691" y="901749"/>
              <a:ext cx="2485023" cy="41088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35000" b="1" dirty="0">
                  <a:solidFill>
                    <a:srgbClr val="005F86"/>
                  </a:solidFill>
                  <a:latin typeface="+mj-lt"/>
                </a:rPr>
                <a:t>Q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35359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er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1212" y="2815295"/>
            <a:ext cx="2691070" cy="160279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221F7C8-AFCA-4B1D-86D1-37B7502B00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1212" y="2815295"/>
            <a:ext cx="2691070" cy="1602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40914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1" y="78263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1122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1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3953252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non-U.S._ThriveLow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 Diagonal Corner Rectangle 13"/>
          <p:cNvSpPr/>
          <p:nvPr userDrawn="1"/>
        </p:nvSpPr>
        <p:spPr>
          <a:xfrm>
            <a:off x="6607175" y="1782233"/>
            <a:ext cx="2332038" cy="3469591"/>
          </a:xfrm>
          <a:prstGeom prst="round2DiagRect">
            <a:avLst>
              <a:gd name="adj1" fmla="val 0"/>
              <a:gd name="adj2" fmla="val 7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228600"/>
            <a:ext cx="6501384" cy="5715000"/>
          </a:xfrm>
          <a:prstGeom prst="rect">
            <a:avLst/>
          </a:prstGeom>
          <a:solidFill>
            <a:schemeClr val="tx2"/>
          </a:solidFill>
        </p:spPr>
        <p:txBody>
          <a:bodyPr rtlCol="0" anchor="ctr">
            <a:noAutofit/>
          </a:bodyPr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lvl1pPr>
          </a:lstStyle>
          <a:p>
            <a:pPr lvl="0"/>
            <a:r>
              <a:rPr lang="en-US" noProof="0" dirty="0"/>
              <a:t>Double click icon to add pictur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pPr>
            <a:r>
              <a:rPr lang="en-US" noProof="0" dirty="0"/>
              <a:t>This version of the thrive™ window is for us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pPr>
            <a:r>
              <a:rPr lang="en-US" noProof="0" dirty="0"/>
              <a:t> by all non-U.S. countries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890012" y="2017528"/>
            <a:ext cx="1792027" cy="1491721"/>
          </a:xfrm>
        </p:spPr>
        <p:txBody>
          <a:bodyPr t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cover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90012" y="3532606"/>
            <a:ext cx="1792027" cy="1317625"/>
          </a:xfrm>
        </p:spPr>
        <p:txBody>
          <a:bodyPr tIns="0" bIns="0">
            <a:noAutofit/>
          </a:bodyPr>
          <a:lstStyle>
            <a:lvl1pPr marL="0" indent="0">
              <a:buFontTx/>
              <a:buNone/>
              <a:defRPr sz="1400" b="0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cover sub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775157" y="6511173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</a:t>
            </a:r>
            <a:r>
              <a:rPr lang="en-US" altLang="en-US" sz="700" baseline="30000" dirty="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sp>
        <p:nvSpPr>
          <p:cNvPr id="18" name="Round Diagonal Corner Rectangle 17"/>
          <p:cNvSpPr/>
          <p:nvPr userDrawn="1"/>
        </p:nvSpPr>
        <p:spPr>
          <a:xfrm>
            <a:off x="6602414" y="232833"/>
            <a:ext cx="1597025" cy="1416051"/>
          </a:xfrm>
          <a:prstGeom prst="round2DiagRect">
            <a:avLst>
              <a:gd name="adj1" fmla="val 1506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6002110" y="5244354"/>
            <a:ext cx="563338" cy="8017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" descr="thriveWindow_upper_med.png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9"/>
          <a:stretch>
            <a:fillRect/>
          </a:stretch>
        </p:blipFill>
        <p:spPr bwMode="auto">
          <a:xfrm>
            <a:off x="0" y="5005388"/>
            <a:ext cx="6007100" cy="950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Flowchart: Document 10">
            <a:extLst>
              <a:ext uri="{FF2B5EF4-FFF2-40B4-BE49-F238E27FC236}">
                <a16:creationId xmlns:a16="http://schemas.microsoft.com/office/drawing/2014/main" id="{EB55920E-10EC-3A42-B355-E2608BEB3235}"/>
              </a:ext>
            </a:extLst>
          </p:cNvPr>
          <p:cNvSpPr/>
          <p:nvPr userDrawn="1"/>
        </p:nvSpPr>
        <p:spPr>
          <a:xfrm>
            <a:off x="-2068082" y="189706"/>
            <a:ext cx="2068082" cy="2501456"/>
          </a:xfrm>
          <a:prstGeom prst="flowChartDocument">
            <a:avLst/>
          </a:prstGeom>
          <a:solidFill>
            <a:srgbClr val="FF00FF"/>
          </a:solidFill>
          <a:ln>
            <a:solidFill>
              <a:srgbClr val="CC00CC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Note: This version of the </a:t>
            </a:r>
            <a:r>
              <a:rPr lang="en-US" altLang="en-US" sz="1000" b="1" dirty="0" err="1">
                <a:latin typeface="Arial" pitchFamily="34" charset="0"/>
                <a:cs typeface="Arial" pitchFamily="34" charset="0"/>
              </a:rPr>
              <a:t>thrive</a:t>
            </a:r>
            <a:r>
              <a:rPr lang="en-US" altLang="en-US" sz="1000" b="1" baseline="30000" dirty="0" err="1">
                <a:latin typeface="Arial" pitchFamily="34" charset="0"/>
                <a:cs typeface="Arial" pitchFamily="34" charset="0"/>
              </a:rPr>
              <a:t>TM</a:t>
            </a:r>
            <a:r>
              <a:rPr lang="en-US" altLang="en-US" sz="1000" b="1" baseline="30000" dirty="0">
                <a:latin typeface="Arial" pitchFamily="34" charset="0"/>
                <a:cs typeface="Arial" pitchFamily="34" charset="0"/>
              </a:rPr>
              <a:t> </a:t>
            </a:r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 window is for use by all non-U.S. countries.</a:t>
            </a:r>
          </a:p>
          <a:p>
            <a:pPr eaLnBrk="1" hangingPunct="1"/>
            <a:endParaRPr lang="en-US" altLang="en-US" sz="1000" b="1" dirty="0">
              <a:latin typeface="Arial" pitchFamily="34" charset="0"/>
              <a:cs typeface="Arial" pitchFamily="34" charset="0"/>
            </a:endParaRPr>
          </a:p>
          <a:p>
            <a:pPr eaLnBrk="1" hangingPunct="1"/>
            <a:r>
              <a:rPr lang="en-US" altLang="en-US" sz="1000" b="1" dirty="0">
                <a:latin typeface="Arial" pitchFamily="34" charset="0"/>
                <a:cs typeface="Arial" pitchFamily="34" charset="0"/>
              </a:rPr>
              <a:t>Changing image:</a:t>
            </a:r>
          </a:p>
          <a:p>
            <a:pPr eaLnBrk="1" hangingPunct="1"/>
            <a:endParaRPr lang="en-US" altLang="en-US" sz="1000" dirty="0">
              <a:latin typeface="Arial" pitchFamily="34" charset="0"/>
              <a:cs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elete current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Double click icon to select new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1000" dirty="0">
                <a:latin typeface="Arial" pitchFamily="34" charset="0"/>
                <a:cs typeface="Arial" pitchFamily="34" charset="0"/>
              </a:rPr>
              <a:t>Right-click photo image and click on “Send To Back” to </a:t>
            </a:r>
            <a:r>
              <a:rPr lang="en-US" altLang="en-US" sz="1000" u="sng" dirty="0">
                <a:latin typeface="Arial" pitchFamily="34" charset="0"/>
                <a:cs typeface="Arial" pitchFamily="34" charset="0"/>
              </a:rPr>
              <a:t>ensure photo image is behind the “</a:t>
            </a:r>
            <a:r>
              <a:rPr lang="en-US" altLang="ja-JP" sz="1000" i="1" u="sng" dirty="0">
                <a:latin typeface="Arial" pitchFamily="34" charset="0"/>
                <a:cs typeface="Arial" pitchFamily="34" charset="0"/>
              </a:rPr>
              <a:t>thrive</a:t>
            </a:r>
            <a:r>
              <a:rPr lang="en-US" altLang="en-US" sz="1000" u="sng" dirty="0">
                <a:latin typeface="Arial" pitchFamily="34" charset="0"/>
                <a:cs typeface="Arial" pitchFamily="34" charset="0"/>
              </a:rPr>
              <a:t>”</a:t>
            </a:r>
            <a:r>
              <a:rPr lang="en-US" altLang="ja-JP" sz="1000" u="sng" dirty="0">
                <a:latin typeface="Arial" pitchFamily="34" charset="0"/>
                <a:cs typeface="Arial" pitchFamily="34" charset="0"/>
              </a:rPr>
              <a:t> graphic</a:t>
            </a:r>
            <a:endParaRPr lang="en-US" altLang="en-US" sz="1000" u="sng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782802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44539" y="502922"/>
            <a:ext cx="7658101" cy="1154927"/>
          </a:xfrm>
        </p:spPr>
        <p:txBody>
          <a:bodyPr/>
          <a:lstStyle>
            <a:lvl1pPr>
              <a:lnSpc>
                <a:spcPts val="3000"/>
              </a:lnSpc>
              <a:defRPr sz="2700">
                <a:solidFill>
                  <a:srgbClr val="005C8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6046" y="6353252"/>
            <a:ext cx="325730" cy="230832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63121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PhotoMosaic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 Diagonal Corner Rectangle 8"/>
          <p:cNvSpPr/>
          <p:nvPr userDrawn="1"/>
        </p:nvSpPr>
        <p:spPr>
          <a:xfrm>
            <a:off x="6607175" y="2112437"/>
            <a:ext cx="2332038" cy="3843867"/>
          </a:xfrm>
          <a:prstGeom prst="round2DiagRect">
            <a:avLst>
              <a:gd name="adj1" fmla="val 0"/>
              <a:gd name="adj2" fmla="val 7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47"/>
          </a:p>
        </p:txBody>
      </p:sp>
      <p:sp>
        <p:nvSpPr>
          <p:cNvPr id="10" name="Round Diagonal Corner Rectangle 9"/>
          <p:cNvSpPr/>
          <p:nvPr userDrawn="1"/>
        </p:nvSpPr>
        <p:spPr>
          <a:xfrm>
            <a:off x="6602417" y="518590"/>
            <a:ext cx="1597025" cy="1452033"/>
          </a:xfrm>
          <a:prstGeom prst="round2DiagRect">
            <a:avLst>
              <a:gd name="adj1" fmla="val 1506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47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 hasCustomPrompt="1"/>
          </p:nvPr>
        </p:nvSpPr>
        <p:spPr>
          <a:xfrm>
            <a:off x="188092" y="228600"/>
            <a:ext cx="6318504" cy="5715000"/>
          </a:xfrm>
          <a:prstGeom prst="round2DiagRect">
            <a:avLst>
              <a:gd name="adj1" fmla="val 3724"/>
              <a:gd name="adj2" fmla="val 0"/>
            </a:avLst>
          </a:prstGeom>
          <a:solidFill>
            <a:schemeClr val="tx2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/>
              <a:t>Double click icon to add picture</a:t>
            </a:r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876000" y="2692804"/>
            <a:ext cx="1806060" cy="1485403"/>
          </a:xfrm>
        </p:spPr>
        <p:txBody>
          <a:bodyPr t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96" b="0">
                <a:solidFill>
                  <a:schemeClr val="bg1"/>
                </a:solidFill>
                <a:latin typeface="+mj-lt"/>
              </a:defRPr>
            </a:lvl1pPr>
            <a:lvl2pPr marL="342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6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8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0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2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43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6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cover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76000" y="4206246"/>
            <a:ext cx="1806060" cy="1317625"/>
          </a:xfrm>
        </p:spPr>
        <p:txBody>
          <a:bodyPr tIns="0" bIns="0">
            <a:noAutofit/>
          </a:bodyPr>
          <a:lstStyle>
            <a:lvl1pPr marL="0" indent="0">
              <a:buFontTx/>
              <a:buNone/>
              <a:defRPr sz="1048" b="0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cover subtitle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2775159" y="6511435"/>
            <a:ext cx="3529011" cy="143373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699" baseline="3000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699" baseline="30000">
                <a:solidFill>
                  <a:srgbClr val="959595"/>
                </a:solidFill>
              </a:rPr>
              <a:t>2021</a:t>
            </a:r>
            <a:r>
              <a:rPr lang="en-US" altLang="en-US" sz="699" baseline="3000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9D8A999-47E4-D740-8CA7-36639165C4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39608" y="6164379"/>
            <a:ext cx="1168584" cy="491744"/>
          </a:xfrm>
          <a:prstGeom prst="rect">
            <a:avLst/>
          </a:prstGeom>
        </p:spPr>
      </p:pic>
      <p:sp>
        <p:nvSpPr>
          <p:cNvPr id="11" name="Flowchart: Document 10">
            <a:extLst>
              <a:ext uri="{FF2B5EF4-FFF2-40B4-BE49-F238E27FC236}">
                <a16:creationId xmlns:a16="http://schemas.microsoft.com/office/drawing/2014/main" id="{4709DCD8-5B51-3F43-BE16-346144947C0D}"/>
              </a:ext>
            </a:extLst>
          </p:cNvPr>
          <p:cNvSpPr/>
          <p:nvPr userDrawn="1"/>
        </p:nvSpPr>
        <p:spPr>
          <a:xfrm>
            <a:off x="-1930441" y="252946"/>
            <a:ext cx="1891863" cy="1961237"/>
          </a:xfrm>
          <a:prstGeom prst="flowChartDocument">
            <a:avLst/>
          </a:prstGeom>
          <a:solidFill>
            <a:srgbClr val="FF00FF"/>
          </a:solidFill>
          <a:ln>
            <a:solidFill>
              <a:srgbClr val="CC00CC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altLang="en-US" sz="998" b="1">
                <a:latin typeface="Arial" pitchFamily="34" charset="0"/>
                <a:cs typeface="Arial" pitchFamily="34" charset="0"/>
              </a:rPr>
              <a:t>Changing image:</a:t>
            </a:r>
          </a:p>
          <a:p>
            <a:pPr eaLnBrk="1" hangingPunct="1"/>
            <a:endParaRPr lang="en-US" altLang="en-US" sz="998">
              <a:latin typeface="Arial" pitchFamily="34" charset="0"/>
              <a:cs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998">
                <a:latin typeface="Arial" pitchFamily="34" charset="0"/>
                <a:cs typeface="Arial" pitchFamily="34" charset="0"/>
              </a:rPr>
              <a:t>Delete current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998">
                <a:latin typeface="Arial" pitchFamily="34" charset="0"/>
                <a:cs typeface="Arial" pitchFamily="34" charset="0"/>
              </a:rPr>
              <a:t>Double click icon to select new image</a:t>
            </a:r>
            <a:endParaRPr lang="en-US" altLang="en-US" sz="998" u="sng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16088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PhotoBlock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 Diagonal Corner Rectangle 8"/>
          <p:cNvSpPr/>
          <p:nvPr userDrawn="1"/>
        </p:nvSpPr>
        <p:spPr>
          <a:xfrm>
            <a:off x="6607175" y="2112437"/>
            <a:ext cx="2332038" cy="3843867"/>
          </a:xfrm>
          <a:prstGeom prst="round2DiagRect">
            <a:avLst>
              <a:gd name="adj1" fmla="val 0"/>
              <a:gd name="adj2" fmla="val 7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47"/>
          </a:p>
        </p:txBody>
      </p:sp>
      <p:sp>
        <p:nvSpPr>
          <p:cNvPr id="10" name="Round Diagonal Corner Rectangle 9"/>
          <p:cNvSpPr/>
          <p:nvPr userDrawn="1"/>
        </p:nvSpPr>
        <p:spPr>
          <a:xfrm>
            <a:off x="6602417" y="518590"/>
            <a:ext cx="1597025" cy="1452033"/>
          </a:xfrm>
          <a:prstGeom prst="round2DiagRect">
            <a:avLst>
              <a:gd name="adj1" fmla="val 1506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47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228600"/>
            <a:ext cx="6501384" cy="5715000"/>
          </a:xfrm>
          <a:prstGeom prst="rect">
            <a:avLst/>
          </a:prstGeom>
          <a:solidFill>
            <a:schemeClr val="tx2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Double click icon to add picture</a:t>
            </a:r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868963" y="2691163"/>
            <a:ext cx="1813074" cy="1491721"/>
          </a:xfrm>
        </p:spPr>
        <p:txBody>
          <a:bodyPr t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96" b="0">
                <a:solidFill>
                  <a:schemeClr val="bg1"/>
                </a:solidFill>
                <a:latin typeface="+mj-lt"/>
              </a:defRPr>
            </a:lvl1pPr>
            <a:lvl2pPr marL="342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6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8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0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2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43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6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cover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68963" y="4206246"/>
            <a:ext cx="1813074" cy="1317625"/>
          </a:xfrm>
        </p:spPr>
        <p:txBody>
          <a:bodyPr tIns="0" bIns="0">
            <a:noAutofit/>
          </a:bodyPr>
          <a:lstStyle>
            <a:lvl1pPr marL="0" indent="0">
              <a:buFontTx/>
              <a:buNone/>
              <a:defRPr sz="1048" b="0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cover sub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775159" y="6511435"/>
            <a:ext cx="3529011" cy="143373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699" baseline="3000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699" baseline="30000">
                <a:solidFill>
                  <a:srgbClr val="959595"/>
                </a:solidFill>
              </a:rPr>
              <a:t>2021</a:t>
            </a:r>
            <a:r>
              <a:rPr lang="en-US" altLang="en-US" sz="699" baseline="3000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DE7DEFA-741C-EF4E-BF84-4E6034E7EF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39608" y="6164379"/>
            <a:ext cx="1168584" cy="491744"/>
          </a:xfrm>
          <a:prstGeom prst="rect">
            <a:avLst/>
          </a:prstGeom>
        </p:spPr>
      </p:pic>
      <p:sp>
        <p:nvSpPr>
          <p:cNvPr id="11" name="Flowchart: Document 10">
            <a:extLst>
              <a:ext uri="{FF2B5EF4-FFF2-40B4-BE49-F238E27FC236}">
                <a16:creationId xmlns:a16="http://schemas.microsoft.com/office/drawing/2014/main" id="{A51BAF80-C72D-8747-92C3-7F0B7FF43ED0}"/>
              </a:ext>
            </a:extLst>
          </p:cNvPr>
          <p:cNvSpPr/>
          <p:nvPr userDrawn="1"/>
        </p:nvSpPr>
        <p:spPr>
          <a:xfrm>
            <a:off x="-1934299" y="252946"/>
            <a:ext cx="1891863" cy="1961237"/>
          </a:xfrm>
          <a:prstGeom prst="flowChartDocument">
            <a:avLst/>
          </a:prstGeom>
          <a:solidFill>
            <a:srgbClr val="FF00FF"/>
          </a:solidFill>
          <a:ln>
            <a:solidFill>
              <a:srgbClr val="CC00CC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altLang="en-US" sz="998" b="1">
                <a:latin typeface="Arial" pitchFamily="34" charset="0"/>
                <a:cs typeface="Arial" pitchFamily="34" charset="0"/>
              </a:rPr>
              <a:t>Changing image:</a:t>
            </a:r>
          </a:p>
          <a:p>
            <a:pPr eaLnBrk="1" hangingPunct="1"/>
            <a:endParaRPr lang="en-US" altLang="en-US" sz="998">
              <a:latin typeface="Arial" pitchFamily="34" charset="0"/>
              <a:cs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998">
                <a:latin typeface="Arial" pitchFamily="34" charset="0"/>
                <a:cs typeface="Arial" pitchFamily="34" charset="0"/>
              </a:rPr>
              <a:t>Delete current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998">
                <a:latin typeface="Arial" pitchFamily="34" charset="0"/>
                <a:cs typeface="Arial" pitchFamily="34" charset="0"/>
              </a:rPr>
              <a:t>Double click icon to select new image</a:t>
            </a:r>
            <a:endParaRPr lang="en-US" altLang="en-US" sz="998" u="sng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166032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U.S._ThriveUpp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 Diagonal Corner Rectangle 10"/>
          <p:cNvSpPr/>
          <p:nvPr userDrawn="1"/>
        </p:nvSpPr>
        <p:spPr>
          <a:xfrm>
            <a:off x="6607175" y="2112437"/>
            <a:ext cx="2332038" cy="3843867"/>
          </a:xfrm>
          <a:prstGeom prst="round2DiagRect">
            <a:avLst>
              <a:gd name="adj1" fmla="val 0"/>
              <a:gd name="adj2" fmla="val 7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47"/>
          </a:p>
        </p:txBody>
      </p:sp>
      <p:sp>
        <p:nvSpPr>
          <p:cNvPr id="13" name="Round Diagonal Corner Rectangle 12"/>
          <p:cNvSpPr/>
          <p:nvPr userDrawn="1"/>
        </p:nvSpPr>
        <p:spPr>
          <a:xfrm>
            <a:off x="6602417" y="518590"/>
            <a:ext cx="1597025" cy="1452033"/>
          </a:xfrm>
          <a:prstGeom prst="round2DiagRect">
            <a:avLst>
              <a:gd name="adj1" fmla="val 1506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47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228600"/>
            <a:ext cx="6501384" cy="5715000"/>
          </a:xfrm>
          <a:prstGeom prst="rect">
            <a:avLst/>
          </a:prstGeom>
          <a:solidFill>
            <a:schemeClr val="tx2"/>
          </a:solidFill>
        </p:spPr>
        <p:txBody>
          <a:bodyPr rtlCol="0" anchor="ctr">
            <a:noAutofit/>
          </a:bodyPr>
          <a:lstStyle>
            <a:lvl1pPr marL="0" marR="0" indent="0" algn="ctr" defTabSz="684087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lvl1pPr>
          </a:lstStyle>
          <a:p>
            <a:pPr lvl="0"/>
            <a:r>
              <a:rPr lang="en-US" noProof="0"/>
              <a:t>Double click icon to add picture</a:t>
            </a:r>
          </a:p>
          <a:p>
            <a:pPr marL="0" marR="0" lvl="0" indent="0" algn="ctr" defTabSz="684087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pPr>
            <a:r>
              <a:rPr lang="en-US" noProof="0"/>
              <a:t>This version of the thrive® window is for use in the  U.S. &amp; India only</a:t>
            </a:r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875980" y="2691163"/>
            <a:ext cx="1782142" cy="1491721"/>
          </a:xfrm>
        </p:spPr>
        <p:txBody>
          <a:bodyPr t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96" b="0">
                <a:solidFill>
                  <a:schemeClr val="bg1"/>
                </a:solidFill>
                <a:latin typeface="+mj-lt"/>
              </a:defRPr>
            </a:lvl1pPr>
            <a:lvl2pPr marL="342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6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8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0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2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43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6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cover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75980" y="4206246"/>
            <a:ext cx="1782142" cy="1317625"/>
          </a:xfrm>
        </p:spPr>
        <p:txBody>
          <a:bodyPr tIns="0" bIns="0">
            <a:noAutofit/>
          </a:bodyPr>
          <a:lstStyle>
            <a:lvl1pPr marL="0" indent="0">
              <a:buFontTx/>
              <a:buNone/>
              <a:defRPr sz="1048" b="0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cover sub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775159" y="6511435"/>
            <a:ext cx="3529011" cy="143373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699" baseline="3000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699" baseline="30000">
                <a:solidFill>
                  <a:srgbClr val="959595"/>
                </a:solidFill>
              </a:rPr>
              <a:t>2021 </a:t>
            </a:r>
            <a:r>
              <a:rPr lang="en-US" altLang="en-US" sz="699" baseline="30000">
                <a:solidFill>
                  <a:srgbClr val="959595"/>
                </a:solidFill>
              </a:rPr>
              <a:t>Cargill, Incorporated. All rights reserved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8393231-2FE7-4F4A-99B9-F27A427786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39608" y="6164379"/>
            <a:ext cx="1168584" cy="491744"/>
          </a:xfrm>
          <a:prstGeom prst="rect">
            <a:avLst/>
          </a:prstGeom>
        </p:spPr>
      </p:pic>
      <p:sp>
        <p:nvSpPr>
          <p:cNvPr id="10" name="Flowchart: Document 10">
            <a:extLst>
              <a:ext uri="{FF2B5EF4-FFF2-40B4-BE49-F238E27FC236}">
                <a16:creationId xmlns:a16="http://schemas.microsoft.com/office/drawing/2014/main" id="{A1B2746D-DB5A-F34D-B667-390F55D5BF03}"/>
              </a:ext>
            </a:extLst>
          </p:cNvPr>
          <p:cNvSpPr/>
          <p:nvPr userDrawn="1"/>
        </p:nvSpPr>
        <p:spPr>
          <a:xfrm>
            <a:off x="-2118234" y="252941"/>
            <a:ext cx="2068082" cy="3335275"/>
          </a:xfrm>
          <a:prstGeom prst="flowChartDocument">
            <a:avLst/>
          </a:prstGeom>
          <a:solidFill>
            <a:srgbClr val="FF00FF"/>
          </a:solidFill>
          <a:ln>
            <a:solidFill>
              <a:srgbClr val="CC00CC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altLang="en-US" sz="998" b="1">
                <a:latin typeface="Arial" pitchFamily="34" charset="0"/>
                <a:cs typeface="Arial" pitchFamily="34" charset="0"/>
              </a:rPr>
              <a:t>Note: This version of the thrive® window is for use in the U.S. &amp; India only.</a:t>
            </a:r>
          </a:p>
          <a:p>
            <a:pPr eaLnBrk="1" hangingPunct="1"/>
            <a:endParaRPr lang="en-US" altLang="en-US" sz="998" b="1">
              <a:latin typeface="Arial" pitchFamily="34" charset="0"/>
              <a:cs typeface="Arial" pitchFamily="34" charset="0"/>
            </a:endParaRPr>
          </a:p>
          <a:p>
            <a:pPr eaLnBrk="1" hangingPunct="1"/>
            <a:r>
              <a:rPr lang="en-US" altLang="en-US" sz="998" b="1">
                <a:latin typeface="Arial" pitchFamily="34" charset="0"/>
                <a:cs typeface="Arial" pitchFamily="34" charset="0"/>
              </a:rPr>
              <a:t>Changing image:</a:t>
            </a:r>
          </a:p>
          <a:p>
            <a:pPr eaLnBrk="1" hangingPunct="1"/>
            <a:endParaRPr lang="en-US" altLang="en-US" sz="998">
              <a:latin typeface="Arial" pitchFamily="34" charset="0"/>
              <a:cs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998">
                <a:latin typeface="Arial" pitchFamily="34" charset="0"/>
                <a:cs typeface="Arial" pitchFamily="34" charset="0"/>
              </a:rPr>
              <a:t>Delete current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998">
                <a:latin typeface="Arial" pitchFamily="34" charset="0"/>
                <a:cs typeface="Arial" pitchFamily="34" charset="0"/>
              </a:rPr>
              <a:t>Double click icon to select new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998">
                <a:latin typeface="Arial" pitchFamily="34" charset="0"/>
                <a:cs typeface="Arial" pitchFamily="34" charset="0"/>
              </a:rPr>
              <a:t>Right-click photo image and click on “Send To Back” to </a:t>
            </a:r>
            <a:r>
              <a:rPr lang="en-US" altLang="en-US" sz="998" u="sng">
                <a:latin typeface="Arial" pitchFamily="34" charset="0"/>
                <a:cs typeface="Arial" pitchFamily="34" charset="0"/>
              </a:rPr>
              <a:t>ensure photo image is behind the “</a:t>
            </a:r>
            <a:r>
              <a:rPr lang="en-US" altLang="ja-JP" sz="998" i="1" u="sng">
                <a:latin typeface="Arial" pitchFamily="34" charset="0"/>
                <a:cs typeface="Arial" pitchFamily="34" charset="0"/>
              </a:rPr>
              <a:t>thrive</a:t>
            </a:r>
            <a:r>
              <a:rPr lang="en-US" altLang="en-US" sz="998" u="sng">
                <a:latin typeface="Arial" pitchFamily="34" charset="0"/>
                <a:cs typeface="Arial" pitchFamily="34" charset="0"/>
              </a:rPr>
              <a:t>”</a:t>
            </a:r>
            <a:r>
              <a:rPr lang="en-US" altLang="ja-JP" sz="998" u="sng">
                <a:latin typeface="Arial" pitchFamily="34" charset="0"/>
                <a:cs typeface="Arial" pitchFamily="34" charset="0"/>
              </a:rPr>
              <a:t> graphic</a:t>
            </a:r>
            <a:endParaRPr lang="en-US" altLang="en-US" sz="998" u="sng">
              <a:latin typeface="Arial" pitchFamily="34" charset="0"/>
              <a:cs typeface="Arial" pitchFamily="34" charset="0"/>
            </a:endParaRPr>
          </a:p>
        </p:txBody>
      </p:sp>
      <p:pic>
        <p:nvPicPr>
          <p:cNvPr id="16" name="Picture 3">
            <a:extLst>
              <a:ext uri="{FF2B5EF4-FFF2-40B4-BE49-F238E27FC236}">
                <a16:creationId xmlns:a16="http://schemas.microsoft.com/office/drawing/2014/main" id="{BCC19CD9-3758-F049-8294-75150C614C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" y="7866"/>
            <a:ext cx="6519863" cy="12394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716974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U.S._ThriveLow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 Diagonal Corner Rectangle 13"/>
          <p:cNvSpPr/>
          <p:nvPr userDrawn="1"/>
        </p:nvSpPr>
        <p:spPr>
          <a:xfrm>
            <a:off x="6607175" y="1782238"/>
            <a:ext cx="2332038" cy="3469591"/>
          </a:xfrm>
          <a:prstGeom prst="round2DiagRect">
            <a:avLst>
              <a:gd name="adj1" fmla="val 0"/>
              <a:gd name="adj2" fmla="val 7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47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228600"/>
            <a:ext cx="6501384" cy="5715000"/>
          </a:xfrm>
          <a:prstGeom prst="rect">
            <a:avLst/>
          </a:prstGeom>
          <a:solidFill>
            <a:schemeClr val="tx2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Double click icon to add picture</a:t>
            </a:r>
          </a:p>
          <a:p>
            <a:pPr lvl="0"/>
            <a:r>
              <a:rPr lang="en-US" noProof="0"/>
              <a:t>This version of the thrive® window is for U.S. use only</a:t>
            </a:r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890014" y="2017533"/>
            <a:ext cx="1792027" cy="1491721"/>
          </a:xfrm>
        </p:spPr>
        <p:txBody>
          <a:bodyPr t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96" b="0">
                <a:solidFill>
                  <a:schemeClr val="bg1"/>
                </a:solidFill>
                <a:latin typeface="+mj-lt"/>
              </a:defRPr>
            </a:lvl1pPr>
            <a:lvl2pPr marL="342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6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8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0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2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43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6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cover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90014" y="3532608"/>
            <a:ext cx="1792027" cy="1317625"/>
          </a:xfrm>
        </p:spPr>
        <p:txBody>
          <a:bodyPr tIns="0" bIns="0">
            <a:noAutofit/>
          </a:bodyPr>
          <a:lstStyle>
            <a:lvl1pPr marL="0" indent="0">
              <a:buFontTx/>
              <a:buNone/>
              <a:defRPr sz="1048" b="0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cover sub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775159" y="6511435"/>
            <a:ext cx="3529011" cy="143373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699" baseline="3000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699" baseline="30000">
                <a:solidFill>
                  <a:srgbClr val="959595"/>
                </a:solidFill>
              </a:rPr>
              <a:t>2021</a:t>
            </a:r>
            <a:r>
              <a:rPr lang="en-US" altLang="en-US" sz="699" baseline="3000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sp>
        <p:nvSpPr>
          <p:cNvPr id="18" name="Round Diagonal Corner Rectangle 17"/>
          <p:cNvSpPr/>
          <p:nvPr userDrawn="1"/>
        </p:nvSpPr>
        <p:spPr>
          <a:xfrm>
            <a:off x="6602417" y="232833"/>
            <a:ext cx="1597025" cy="1416051"/>
          </a:xfrm>
          <a:prstGeom prst="round2DiagRect">
            <a:avLst>
              <a:gd name="adj1" fmla="val 1506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47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6880365-66C1-5449-9948-39C9CFFC31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39608" y="6164379"/>
            <a:ext cx="1168584" cy="491744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6A4AD004-D8F7-DE4B-B8DF-7F045DAA15D6}"/>
              </a:ext>
            </a:extLst>
          </p:cNvPr>
          <p:cNvGrpSpPr/>
          <p:nvPr userDrawn="1"/>
        </p:nvGrpSpPr>
        <p:grpSpPr>
          <a:xfrm>
            <a:off x="-5786" y="4738470"/>
            <a:ext cx="6565448" cy="1300397"/>
            <a:chOff x="0" y="3548062"/>
            <a:chExt cx="6565448" cy="975298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17596E7-F0D2-7046-AE46-C550E7282AE7}"/>
                </a:ext>
              </a:extLst>
            </p:cNvPr>
            <p:cNvSpPr/>
            <p:nvPr/>
          </p:nvSpPr>
          <p:spPr>
            <a:xfrm>
              <a:off x="5912847" y="3765550"/>
              <a:ext cx="652601" cy="75781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6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CD32C32-E033-5741-B6A9-AC0C6F372D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3548062"/>
              <a:ext cx="6002110" cy="9155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5552591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non-U.S._ThriveUpp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 Diagonal Corner Rectangle 10"/>
          <p:cNvSpPr/>
          <p:nvPr userDrawn="1"/>
        </p:nvSpPr>
        <p:spPr>
          <a:xfrm>
            <a:off x="6607175" y="2112437"/>
            <a:ext cx="2332038" cy="3843867"/>
          </a:xfrm>
          <a:prstGeom prst="round2DiagRect">
            <a:avLst>
              <a:gd name="adj1" fmla="val 0"/>
              <a:gd name="adj2" fmla="val 7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47"/>
          </a:p>
        </p:txBody>
      </p:sp>
      <p:sp>
        <p:nvSpPr>
          <p:cNvPr id="13" name="Round Diagonal Corner Rectangle 12"/>
          <p:cNvSpPr/>
          <p:nvPr userDrawn="1"/>
        </p:nvSpPr>
        <p:spPr>
          <a:xfrm>
            <a:off x="6602417" y="518590"/>
            <a:ext cx="1597025" cy="1452033"/>
          </a:xfrm>
          <a:prstGeom prst="round2DiagRect">
            <a:avLst>
              <a:gd name="adj1" fmla="val 1506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47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228600"/>
            <a:ext cx="6501384" cy="5715000"/>
          </a:xfrm>
          <a:prstGeom prst="rect">
            <a:avLst/>
          </a:prstGeom>
          <a:solidFill>
            <a:schemeClr val="tx2"/>
          </a:solidFill>
        </p:spPr>
        <p:txBody>
          <a:bodyPr rtlCol="0" anchor="ctr">
            <a:noAutofit/>
          </a:bodyPr>
          <a:lstStyle>
            <a:lvl1pPr marL="0" marR="0" indent="0" algn="ctr" defTabSz="684087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lvl1pPr>
          </a:lstStyle>
          <a:p>
            <a:pPr lvl="0"/>
            <a:r>
              <a:rPr lang="en-US" noProof="0"/>
              <a:t>Double click icon to add picture</a:t>
            </a:r>
          </a:p>
          <a:p>
            <a:pPr lvl="0"/>
            <a:r>
              <a:rPr lang="en-US" noProof="0"/>
              <a:t>This version of the thrive™ window is for use by countries outside</a:t>
            </a:r>
          </a:p>
          <a:p>
            <a:pPr lvl="0"/>
            <a:r>
              <a:rPr lang="en-US" noProof="0"/>
              <a:t>the U.S. &amp; India</a:t>
            </a:r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875980" y="2691163"/>
            <a:ext cx="1782142" cy="1491721"/>
          </a:xfrm>
        </p:spPr>
        <p:txBody>
          <a:bodyPr t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96" b="0">
                <a:solidFill>
                  <a:schemeClr val="bg1"/>
                </a:solidFill>
                <a:latin typeface="+mj-lt"/>
              </a:defRPr>
            </a:lvl1pPr>
            <a:lvl2pPr marL="342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6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8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0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2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43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6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cover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75980" y="4206246"/>
            <a:ext cx="1782142" cy="1317625"/>
          </a:xfrm>
        </p:spPr>
        <p:txBody>
          <a:bodyPr tIns="0" bIns="0">
            <a:noAutofit/>
          </a:bodyPr>
          <a:lstStyle>
            <a:lvl1pPr marL="0" indent="0">
              <a:buFontTx/>
              <a:buNone/>
              <a:defRPr sz="1048" b="0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cover sub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775159" y="6511435"/>
            <a:ext cx="3529011" cy="143373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699" baseline="3000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699" baseline="30000">
                <a:solidFill>
                  <a:srgbClr val="959595"/>
                </a:solidFill>
              </a:rPr>
              <a:t>2021 </a:t>
            </a:r>
            <a:r>
              <a:rPr lang="en-US" altLang="en-US" sz="699" baseline="30000">
                <a:solidFill>
                  <a:srgbClr val="959595"/>
                </a:solidFill>
              </a:rPr>
              <a:t>Cargill, Incorporated. All rights reserved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8393231-2FE7-4F4A-99B9-F27A427786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39608" y="6164379"/>
            <a:ext cx="1168584" cy="491744"/>
          </a:xfrm>
          <a:prstGeom prst="rect">
            <a:avLst/>
          </a:prstGeom>
        </p:spPr>
      </p:pic>
      <p:pic>
        <p:nvPicPr>
          <p:cNvPr id="14" name="Picture 3" descr="thriveWindow_lower_sm.png">
            <a:extLst>
              <a:ext uri="{FF2B5EF4-FFF2-40B4-BE49-F238E27FC236}">
                <a16:creationId xmlns:a16="http://schemas.microsoft.com/office/drawing/2014/main" id="{269FCD5A-247C-7E46-B60E-9295AAA54AE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0"/>
            <a:ext cx="6519863" cy="1255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Flowchart: Document 10">
            <a:extLst>
              <a:ext uri="{FF2B5EF4-FFF2-40B4-BE49-F238E27FC236}">
                <a16:creationId xmlns:a16="http://schemas.microsoft.com/office/drawing/2014/main" id="{A1B2746D-DB5A-F34D-B667-390F55D5BF03}"/>
              </a:ext>
            </a:extLst>
          </p:cNvPr>
          <p:cNvSpPr/>
          <p:nvPr userDrawn="1"/>
        </p:nvSpPr>
        <p:spPr>
          <a:xfrm>
            <a:off x="-2106660" y="252941"/>
            <a:ext cx="2068082" cy="3335275"/>
          </a:xfrm>
          <a:prstGeom prst="flowChartDocument">
            <a:avLst/>
          </a:prstGeom>
          <a:solidFill>
            <a:srgbClr val="FF00FF"/>
          </a:solidFill>
          <a:ln>
            <a:solidFill>
              <a:srgbClr val="CC00CC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altLang="en-US" sz="998" b="1">
                <a:latin typeface="Arial" pitchFamily="34" charset="0"/>
                <a:cs typeface="Arial" pitchFamily="34" charset="0"/>
              </a:rPr>
              <a:t>Note: This version  of the thrive</a:t>
            </a:r>
            <a:r>
              <a:rPr lang="en-US" altLang="en-US" sz="998" b="1" baseline="30000">
                <a:latin typeface="Arial" pitchFamily="34" charset="0"/>
                <a:cs typeface="Arial" pitchFamily="34" charset="0"/>
              </a:rPr>
              <a:t>TM </a:t>
            </a:r>
            <a:r>
              <a:rPr lang="en-US" altLang="en-US" sz="998" b="1">
                <a:latin typeface="Arial" pitchFamily="34" charset="0"/>
                <a:cs typeface="Arial" pitchFamily="34" charset="0"/>
              </a:rPr>
              <a:t> window is for use by countries outside the U.S. &amp; India.</a:t>
            </a:r>
          </a:p>
          <a:p>
            <a:pPr eaLnBrk="1" hangingPunct="1"/>
            <a:endParaRPr lang="en-US" altLang="en-US" sz="998" b="1">
              <a:latin typeface="Arial" pitchFamily="34" charset="0"/>
              <a:cs typeface="Arial" pitchFamily="34" charset="0"/>
            </a:endParaRPr>
          </a:p>
          <a:p>
            <a:pPr eaLnBrk="1" hangingPunct="1"/>
            <a:r>
              <a:rPr lang="en-US" altLang="en-US" sz="998" b="1">
                <a:latin typeface="Arial" pitchFamily="34" charset="0"/>
                <a:cs typeface="Arial" pitchFamily="34" charset="0"/>
              </a:rPr>
              <a:t>Changing image:</a:t>
            </a:r>
          </a:p>
          <a:p>
            <a:pPr eaLnBrk="1" hangingPunct="1"/>
            <a:endParaRPr lang="en-US" altLang="en-US" sz="998">
              <a:latin typeface="Arial" pitchFamily="34" charset="0"/>
              <a:cs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998">
                <a:latin typeface="Arial" pitchFamily="34" charset="0"/>
                <a:cs typeface="Arial" pitchFamily="34" charset="0"/>
              </a:rPr>
              <a:t>Delete current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998">
                <a:latin typeface="Arial" pitchFamily="34" charset="0"/>
                <a:cs typeface="Arial" pitchFamily="34" charset="0"/>
              </a:rPr>
              <a:t>Double click icon to select new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998">
                <a:latin typeface="Arial" pitchFamily="34" charset="0"/>
                <a:cs typeface="Arial" pitchFamily="34" charset="0"/>
              </a:rPr>
              <a:t>Right-click photo image and click on “Send To Back” to </a:t>
            </a:r>
            <a:r>
              <a:rPr lang="en-US" altLang="en-US" sz="998" u="sng">
                <a:latin typeface="Arial" pitchFamily="34" charset="0"/>
                <a:cs typeface="Arial" pitchFamily="34" charset="0"/>
              </a:rPr>
              <a:t>ensure photo image is behind the “</a:t>
            </a:r>
            <a:r>
              <a:rPr lang="en-US" altLang="ja-JP" sz="998" i="1" u="sng">
                <a:latin typeface="Arial" pitchFamily="34" charset="0"/>
                <a:cs typeface="Arial" pitchFamily="34" charset="0"/>
              </a:rPr>
              <a:t>thrive</a:t>
            </a:r>
            <a:r>
              <a:rPr lang="en-US" altLang="en-US" sz="998" u="sng">
                <a:latin typeface="Arial" pitchFamily="34" charset="0"/>
                <a:cs typeface="Arial" pitchFamily="34" charset="0"/>
              </a:rPr>
              <a:t>”</a:t>
            </a:r>
            <a:r>
              <a:rPr lang="en-US" altLang="ja-JP" sz="998" u="sng">
                <a:latin typeface="Arial" pitchFamily="34" charset="0"/>
                <a:cs typeface="Arial" pitchFamily="34" charset="0"/>
              </a:rPr>
              <a:t> graphic</a:t>
            </a:r>
            <a:endParaRPr lang="en-US" altLang="en-US" sz="998" u="sng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094095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non-U.S._ThriveLow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 Diagonal Corner Rectangle 13"/>
          <p:cNvSpPr/>
          <p:nvPr userDrawn="1"/>
        </p:nvSpPr>
        <p:spPr>
          <a:xfrm>
            <a:off x="6607175" y="1782238"/>
            <a:ext cx="2332038" cy="3469591"/>
          </a:xfrm>
          <a:prstGeom prst="round2DiagRect">
            <a:avLst>
              <a:gd name="adj1" fmla="val 0"/>
              <a:gd name="adj2" fmla="val 78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47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228600"/>
            <a:ext cx="6501384" cy="5715000"/>
          </a:xfrm>
          <a:prstGeom prst="rect">
            <a:avLst/>
          </a:prstGeom>
          <a:solidFill>
            <a:schemeClr val="tx2"/>
          </a:solidFill>
        </p:spPr>
        <p:txBody>
          <a:bodyPr rtlCol="0" anchor="ctr">
            <a:noAutofit/>
          </a:bodyPr>
          <a:lstStyle>
            <a:lvl1pPr marL="0" marR="0" indent="0" algn="ctr" defTabSz="684087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lvl1pPr>
          </a:lstStyle>
          <a:p>
            <a:pPr lvl="0"/>
            <a:r>
              <a:rPr lang="en-US" noProof="0"/>
              <a:t>Double click icon to add picture</a:t>
            </a:r>
          </a:p>
          <a:p>
            <a:pPr marL="0" marR="0" lvl="0" indent="0" algn="ctr" defTabSz="684087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prstClr val="black"/>
              </a:buClr>
              <a:buSzTx/>
              <a:buFont typeface="Arial"/>
              <a:buNone/>
              <a:tabLst/>
              <a:defRPr/>
            </a:pPr>
            <a:r>
              <a:rPr lang="en-US" noProof="0"/>
              <a:t>This version of the thrive™ window is for use by all non-U.S. countries</a:t>
            </a:r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890014" y="2017533"/>
            <a:ext cx="1792027" cy="1491721"/>
          </a:xfrm>
        </p:spPr>
        <p:txBody>
          <a:bodyPr t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96" b="0">
                <a:solidFill>
                  <a:schemeClr val="bg1"/>
                </a:solidFill>
                <a:latin typeface="+mj-lt"/>
              </a:defRPr>
            </a:lvl1pPr>
            <a:lvl2pPr marL="342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6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8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0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2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43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6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cover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90014" y="3532608"/>
            <a:ext cx="1792027" cy="1317625"/>
          </a:xfrm>
        </p:spPr>
        <p:txBody>
          <a:bodyPr tIns="0" bIns="0">
            <a:noAutofit/>
          </a:bodyPr>
          <a:lstStyle>
            <a:lvl1pPr marL="0" indent="0">
              <a:buFontTx/>
              <a:buNone/>
              <a:defRPr sz="1048" b="0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cover sub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775159" y="6511435"/>
            <a:ext cx="3529011" cy="143373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699" baseline="3000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699" baseline="30000">
                <a:solidFill>
                  <a:srgbClr val="959595"/>
                </a:solidFill>
              </a:rPr>
              <a:t>2021</a:t>
            </a:r>
            <a:r>
              <a:rPr lang="en-US" altLang="en-US" sz="699" baseline="3000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sp>
        <p:nvSpPr>
          <p:cNvPr id="18" name="Round Diagonal Corner Rectangle 17"/>
          <p:cNvSpPr/>
          <p:nvPr userDrawn="1"/>
        </p:nvSpPr>
        <p:spPr>
          <a:xfrm>
            <a:off x="6602417" y="232833"/>
            <a:ext cx="1597025" cy="1416051"/>
          </a:xfrm>
          <a:prstGeom prst="round2DiagRect">
            <a:avLst>
              <a:gd name="adj1" fmla="val 1506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47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6880365-66C1-5449-9948-39C9CFFC31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39608" y="6164379"/>
            <a:ext cx="1168584" cy="491744"/>
          </a:xfrm>
          <a:prstGeom prst="rect">
            <a:avLst/>
          </a:prstGeom>
        </p:spPr>
      </p:pic>
      <p:pic>
        <p:nvPicPr>
          <p:cNvPr id="19" name="Picture 1" descr="thriveWindow_upper_med.png">
            <a:extLst>
              <a:ext uri="{FF2B5EF4-FFF2-40B4-BE49-F238E27FC236}">
                <a16:creationId xmlns:a16="http://schemas.microsoft.com/office/drawing/2014/main" id="{1E027F3E-91B6-7F42-87D9-A024BF3FFDE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9"/>
          <a:stretch>
            <a:fillRect/>
          </a:stretch>
        </p:blipFill>
        <p:spPr bwMode="auto">
          <a:xfrm>
            <a:off x="2" y="4693944"/>
            <a:ext cx="6007100" cy="1267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3C6CEEDF-BDDD-464A-BC52-6A11C1AC1C00}"/>
              </a:ext>
            </a:extLst>
          </p:cNvPr>
          <p:cNvSpPr/>
          <p:nvPr userDrawn="1"/>
        </p:nvSpPr>
        <p:spPr>
          <a:xfrm>
            <a:off x="6002112" y="5008951"/>
            <a:ext cx="563338" cy="10221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6"/>
          </a:p>
        </p:txBody>
      </p:sp>
      <p:sp>
        <p:nvSpPr>
          <p:cNvPr id="11" name="Flowchart: Document 10">
            <a:extLst>
              <a:ext uri="{FF2B5EF4-FFF2-40B4-BE49-F238E27FC236}">
                <a16:creationId xmlns:a16="http://schemas.microsoft.com/office/drawing/2014/main" id="{CFB638F1-0FA0-E14F-9F9D-7E82BCE6675F}"/>
              </a:ext>
            </a:extLst>
          </p:cNvPr>
          <p:cNvSpPr/>
          <p:nvPr userDrawn="1"/>
        </p:nvSpPr>
        <p:spPr>
          <a:xfrm>
            <a:off x="-2118234" y="252941"/>
            <a:ext cx="2068082" cy="3335275"/>
          </a:xfrm>
          <a:prstGeom prst="flowChartDocument">
            <a:avLst/>
          </a:prstGeom>
          <a:solidFill>
            <a:srgbClr val="FF00FF"/>
          </a:solidFill>
          <a:ln>
            <a:solidFill>
              <a:srgbClr val="CC00CC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altLang="en-US" sz="998" b="1">
                <a:latin typeface="Arial" pitchFamily="34" charset="0"/>
                <a:cs typeface="Arial" pitchFamily="34" charset="0"/>
              </a:rPr>
              <a:t>Note: This version of the thrive</a:t>
            </a:r>
            <a:r>
              <a:rPr lang="en-US" altLang="en-US" sz="998" b="1" baseline="30000">
                <a:latin typeface="Arial" pitchFamily="34" charset="0"/>
                <a:cs typeface="Arial" pitchFamily="34" charset="0"/>
              </a:rPr>
              <a:t>TM</a:t>
            </a:r>
            <a:r>
              <a:rPr lang="en-US" altLang="en-US" sz="998" b="1">
                <a:latin typeface="Arial" pitchFamily="34" charset="0"/>
                <a:cs typeface="Arial" pitchFamily="34" charset="0"/>
              </a:rPr>
              <a:t>  window is for use by all non-U.S. countries. </a:t>
            </a:r>
          </a:p>
          <a:p>
            <a:pPr eaLnBrk="1" hangingPunct="1"/>
            <a:endParaRPr lang="en-US" altLang="en-US" sz="998" b="1">
              <a:latin typeface="Arial" pitchFamily="34" charset="0"/>
              <a:cs typeface="Arial" pitchFamily="34" charset="0"/>
            </a:endParaRPr>
          </a:p>
          <a:p>
            <a:pPr eaLnBrk="1" hangingPunct="1"/>
            <a:r>
              <a:rPr lang="en-US" altLang="en-US" sz="998" b="1">
                <a:latin typeface="Arial" pitchFamily="34" charset="0"/>
                <a:cs typeface="Arial" pitchFamily="34" charset="0"/>
              </a:rPr>
              <a:t>Changing image:</a:t>
            </a:r>
          </a:p>
          <a:p>
            <a:pPr eaLnBrk="1" hangingPunct="1"/>
            <a:endParaRPr lang="en-US" altLang="en-US" sz="998">
              <a:latin typeface="Arial" pitchFamily="34" charset="0"/>
              <a:cs typeface="Arial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998">
                <a:latin typeface="Arial" pitchFamily="34" charset="0"/>
                <a:cs typeface="Arial" pitchFamily="34" charset="0"/>
              </a:rPr>
              <a:t>Delete current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998">
                <a:latin typeface="Arial" pitchFamily="34" charset="0"/>
                <a:cs typeface="Arial" pitchFamily="34" charset="0"/>
              </a:rPr>
              <a:t>Double click icon to select new image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altLang="en-US" sz="998">
                <a:latin typeface="Arial" pitchFamily="34" charset="0"/>
                <a:cs typeface="Arial" pitchFamily="34" charset="0"/>
              </a:rPr>
              <a:t>Right-click photo image and click on “Send To Back” to </a:t>
            </a:r>
            <a:r>
              <a:rPr lang="en-US" altLang="en-US" sz="998" u="sng">
                <a:latin typeface="Arial" pitchFamily="34" charset="0"/>
                <a:cs typeface="Arial" pitchFamily="34" charset="0"/>
              </a:rPr>
              <a:t>ensure photo image is behind the “</a:t>
            </a:r>
            <a:r>
              <a:rPr lang="en-US" altLang="ja-JP" sz="998" i="1" u="sng">
                <a:latin typeface="Arial" pitchFamily="34" charset="0"/>
                <a:cs typeface="Arial" pitchFamily="34" charset="0"/>
              </a:rPr>
              <a:t>thrive</a:t>
            </a:r>
            <a:r>
              <a:rPr lang="en-US" altLang="en-US" sz="998" u="sng">
                <a:latin typeface="Arial" pitchFamily="34" charset="0"/>
                <a:cs typeface="Arial" pitchFamily="34" charset="0"/>
              </a:rPr>
              <a:t>”</a:t>
            </a:r>
            <a:r>
              <a:rPr lang="en-US" altLang="ja-JP" sz="998" u="sng">
                <a:latin typeface="Arial" pitchFamily="34" charset="0"/>
                <a:cs typeface="Arial" pitchFamily="34" charset="0"/>
              </a:rPr>
              <a:t> graphic</a:t>
            </a:r>
            <a:endParaRPr lang="en-US" altLang="en-US" sz="998" u="sng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871859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lorMosaic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Diagonal Corner Rectangle 5"/>
          <p:cNvSpPr/>
          <p:nvPr userDrawn="1"/>
        </p:nvSpPr>
        <p:spPr>
          <a:xfrm flipV="1">
            <a:off x="230193" y="228606"/>
            <a:ext cx="7223125" cy="5711825"/>
          </a:xfrm>
          <a:prstGeom prst="round2DiagRect">
            <a:avLst>
              <a:gd name="adj1" fmla="val 0"/>
              <a:gd name="adj2" fmla="val 402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796"/>
          </a:p>
        </p:txBody>
      </p:sp>
      <p:sp>
        <p:nvSpPr>
          <p:cNvPr id="7" name="Round Diagonal Corner Rectangle 6"/>
          <p:cNvSpPr/>
          <p:nvPr userDrawn="1"/>
        </p:nvSpPr>
        <p:spPr>
          <a:xfrm>
            <a:off x="7562850" y="3078169"/>
            <a:ext cx="1352550" cy="2862263"/>
          </a:xfrm>
          <a:prstGeom prst="round2DiagRect">
            <a:avLst>
              <a:gd name="adj1" fmla="val 612"/>
              <a:gd name="adj2" fmla="val 1661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796"/>
          </a:p>
        </p:txBody>
      </p:sp>
      <p:sp>
        <p:nvSpPr>
          <p:cNvPr id="8" name="Round Diagonal Corner Rectangle 7"/>
          <p:cNvSpPr/>
          <p:nvPr userDrawn="1"/>
        </p:nvSpPr>
        <p:spPr>
          <a:xfrm>
            <a:off x="7562850" y="1828800"/>
            <a:ext cx="1352550" cy="1143000"/>
          </a:xfrm>
          <a:prstGeom prst="round2DiagRect">
            <a:avLst>
              <a:gd name="adj1" fmla="val 20468"/>
              <a:gd name="adj2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796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40665" y="998338"/>
            <a:ext cx="5029200" cy="2375777"/>
          </a:xfrm>
        </p:spPr>
        <p:txBody>
          <a:bodyPr t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3591" b="0">
                <a:solidFill>
                  <a:schemeClr val="bg1"/>
                </a:solidFill>
                <a:latin typeface="+mj-lt"/>
              </a:defRPr>
            </a:lvl1pPr>
            <a:lvl2pPr marL="342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6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8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0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2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43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6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cover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740665" y="3430587"/>
            <a:ext cx="5029200" cy="914400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796" b="0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cover subtitl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2775159" y="6511435"/>
            <a:ext cx="3529011" cy="143373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699" baseline="3000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699" baseline="30000">
                <a:solidFill>
                  <a:srgbClr val="959595"/>
                </a:solidFill>
              </a:rPr>
              <a:t>2021</a:t>
            </a:r>
            <a:r>
              <a:rPr lang="en-US" altLang="en-US" sz="699" baseline="3000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9A04280-F077-F141-B562-D7E5BFBB2A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39608" y="6164379"/>
            <a:ext cx="1168584" cy="491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61717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LowColo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758830" y="4562475"/>
            <a:ext cx="631825" cy="1539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796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40667" y="2258568"/>
            <a:ext cx="7514337" cy="2057400"/>
          </a:xfrm>
          <a:noFill/>
        </p:spPr>
        <p:txBody>
          <a:bodyPr t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387" b="0">
                <a:solidFill>
                  <a:schemeClr val="accent1"/>
                </a:solidFill>
                <a:latin typeface="+mj-lt"/>
              </a:defRPr>
            </a:lvl1pPr>
            <a:lvl2pPr marL="342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4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6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8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0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2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43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6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cover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>
          <a:xfrm>
            <a:off x="740665" y="4791456"/>
            <a:ext cx="5486400" cy="1271016"/>
          </a:xfrm>
          <a:noFill/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2394" b="0" baseline="0">
                <a:solidFill>
                  <a:schemeClr val="accent2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cover sub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775159" y="6511435"/>
            <a:ext cx="3529011" cy="143373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699" baseline="3000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699" baseline="30000">
                <a:solidFill>
                  <a:srgbClr val="959595"/>
                </a:solidFill>
              </a:rPr>
              <a:t>2021</a:t>
            </a:r>
            <a:r>
              <a:rPr lang="en-US" altLang="en-US" sz="699" baseline="3000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D1DC714-FC4E-7645-A0AE-34BED23ABA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39608" y="6164379"/>
            <a:ext cx="1168584" cy="491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49380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neutr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 userDrawn="1"/>
        </p:nvSpPr>
        <p:spPr>
          <a:xfrm>
            <a:off x="2775159" y="6511435"/>
            <a:ext cx="3529011" cy="143373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699" baseline="3000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699" baseline="30000">
                <a:solidFill>
                  <a:srgbClr val="959595"/>
                </a:solidFill>
              </a:rPr>
              <a:t>2021</a:t>
            </a:r>
            <a:r>
              <a:rPr lang="en-US" altLang="en-US" sz="699" baseline="3000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D1DC714-FC4E-7645-A0AE-34BED23ABA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37590" y="6164379"/>
            <a:ext cx="1172620" cy="49174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8FED626-DB5B-42B2-BB7E-71025455B86F}"/>
              </a:ext>
            </a:extLst>
          </p:cNvPr>
          <p:cNvSpPr/>
          <p:nvPr userDrawn="1"/>
        </p:nvSpPr>
        <p:spPr>
          <a:xfrm>
            <a:off x="0" y="4838703"/>
            <a:ext cx="9144000" cy="1155347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6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2B20C61-46D5-4207-87F3-B5150478EC63}"/>
              </a:ext>
            </a:extLst>
          </p:cNvPr>
          <p:cNvSpPr/>
          <p:nvPr userDrawn="1"/>
        </p:nvSpPr>
        <p:spPr>
          <a:xfrm>
            <a:off x="0" y="-1"/>
            <a:ext cx="9144000" cy="483870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6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9E708CAB-31D1-4D2F-B575-B682B2C9FB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" y="-1"/>
            <a:ext cx="4495510" cy="4838700"/>
          </a:xfrm>
          <a:noFill/>
        </p:spPr>
        <p:txBody>
          <a:bodyPr lIns="324000" anchor="ctr" anchorCtr="0"/>
          <a:lstStyle>
            <a:lvl1pPr marL="0" indent="0">
              <a:spcBef>
                <a:spcPts val="0"/>
              </a:spcBef>
              <a:buNone/>
              <a:defRPr sz="6483" spc="-1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687750CA-285F-44A6-BA35-EB2DE4C549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" y="5001688"/>
            <a:ext cx="5319512" cy="829733"/>
          </a:xfrm>
        </p:spPr>
        <p:txBody>
          <a:bodyPr lIns="324000"/>
          <a:lstStyle>
            <a:lvl1pPr marL="0" indent="0">
              <a:buNone/>
              <a:defRPr sz="1596"/>
            </a:lvl1pPr>
            <a:lvl2pPr marL="209027" indent="0">
              <a:buNone/>
              <a:defRPr/>
            </a:lvl2pPr>
            <a:lvl3pPr marL="428741" indent="0">
              <a:buNone/>
              <a:defRPr/>
            </a:lvl3pPr>
            <a:lvl4pPr marL="638956" indent="0">
              <a:buNone/>
              <a:defRPr/>
            </a:lvl4pPr>
            <a:lvl5pPr marL="64014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7922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ColorMosaic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Diagonal Corner Rectangle 5"/>
          <p:cNvSpPr/>
          <p:nvPr userDrawn="1"/>
        </p:nvSpPr>
        <p:spPr>
          <a:xfrm flipV="1">
            <a:off x="230190" y="228601"/>
            <a:ext cx="7223125" cy="5711825"/>
          </a:xfrm>
          <a:prstGeom prst="round2DiagRect">
            <a:avLst>
              <a:gd name="adj1" fmla="val 0"/>
              <a:gd name="adj2" fmla="val 402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ound Diagonal Corner Rectangle 6"/>
          <p:cNvSpPr/>
          <p:nvPr userDrawn="1"/>
        </p:nvSpPr>
        <p:spPr>
          <a:xfrm>
            <a:off x="7562850" y="3078163"/>
            <a:ext cx="1352550" cy="2862263"/>
          </a:xfrm>
          <a:prstGeom prst="round2DiagRect">
            <a:avLst>
              <a:gd name="adj1" fmla="val 612"/>
              <a:gd name="adj2" fmla="val 1661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ound Diagonal Corner Rectangle 7"/>
          <p:cNvSpPr/>
          <p:nvPr userDrawn="1"/>
        </p:nvSpPr>
        <p:spPr>
          <a:xfrm>
            <a:off x="7562850" y="1828800"/>
            <a:ext cx="1352550" cy="1143000"/>
          </a:xfrm>
          <a:prstGeom prst="round2DiagRect">
            <a:avLst>
              <a:gd name="adj1" fmla="val 20468"/>
              <a:gd name="adj2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40664" y="998333"/>
            <a:ext cx="5029200" cy="2375777"/>
          </a:xfrm>
        </p:spPr>
        <p:txBody>
          <a:bodyPr t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8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cover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740664" y="3430587"/>
            <a:ext cx="5029200" cy="914400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cover subtitl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2775157" y="6511173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</a:t>
            </a:r>
            <a:r>
              <a:rPr lang="en-US" altLang="en-US" sz="700" baseline="30000" dirty="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47870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neutr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2392D36-4719-4F0F-A6C8-80746FD2A04B}"/>
              </a:ext>
            </a:extLst>
          </p:cNvPr>
          <p:cNvSpPr/>
          <p:nvPr userDrawn="1"/>
        </p:nvSpPr>
        <p:spPr>
          <a:xfrm>
            <a:off x="0" y="4838703"/>
            <a:ext cx="9144000" cy="2019301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6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6AA0A42-6288-4BD0-876E-3C9A57F80368}"/>
              </a:ext>
            </a:extLst>
          </p:cNvPr>
          <p:cNvSpPr/>
          <p:nvPr userDrawn="1"/>
        </p:nvSpPr>
        <p:spPr>
          <a:xfrm>
            <a:off x="0" y="-1"/>
            <a:ext cx="9144000" cy="483870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6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B44A1C-AD8C-444F-A68E-DB6A3EEC67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" y="-1"/>
            <a:ext cx="4495510" cy="4838700"/>
          </a:xfrm>
          <a:noFill/>
        </p:spPr>
        <p:txBody>
          <a:bodyPr lIns="324000" anchor="ctr" anchorCtr="0"/>
          <a:lstStyle>
            <a:lvl1pPr marL="0" indent="0">
              <a:spcBef>
                <a:spcPts val="0"/>
              </a:spcBef>
              <a:buNone/>
              <a:defRPr sz="6483" spc="-1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775159" y="6511435"/>
            <a:ext cx="3529011" cy="143373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699" baseline="30000">
                <a:solidFill>
                  <a:schemeClr val="bg1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699" baseline="30000">
                <a:solidFill>
                  <a:schemeClr val="bg1"/>
                </a:solidFill>
              </a:rPr>
              <a:t>2021</a:t>
            </a:r>
            <a:r>
              <a:rPr lang="en-US" altLang="en-US" sz="699" baseline="30000">
                <a:solidFill>
                  <a:schemeClr val="bg1"/>
                </a:solidFill>
              </a:rPr>
              <a:t> Cargill, Incorporated. All rights reserved.</a:t>
            </a:r>
          </a:p>
        </p:txBody>
      </p:sp>
      <p:pic>
        <p:nvPicPr>
          <p:cNvPr id="4" name="Picture 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144D28F-2739-4F5D-AD26-87293E5442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6401" y="6163204"/>
            <a:ext cx="1173600" cy="492155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2E4E66B-F82C-45DC-A708-72F2E8D1D5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" y="5001688"/>
            <a:ext cx="5319512" cy="829733"/>
          </a:xfrm>
        </p:spPr>
        <p:txBody>
          <a:bodyPr lIns="324000"/>
          <a:lstStyle>
            <a:lvl1pPr marL="0" indent="0">
              <a:buNone/>
              <a:defRPr sz="1596"/>
            </a:lvl1pPr>
            <a:lvl2pPr marL="209027" indent="0">
              <a:buNone/>
              <a:defRPr/>
            </a:lvl2pPr>
            <a:lvl3pPr marL="428741" indent="0">
              <a:buNone/>
              <a:defRPr/>
            </a:lvl3pPr>
            <a:lvl4pPr marL="638956" indent="0">
              <a:buNone/>
              <a:defRPr/>
            </a:lvl4pPr>
            <a:lvl5pPr marL="64014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DCB1539-E2C0-4276-86A6-D2E79A6904C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8219175"/>
            <a:ext cx="1564640" cy="655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1612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Break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Diagonal Corner Rectangle 5"/>
          <p:cNvSpPr/>
          <p:nvPr userDrawn="1"/>
        </p:nvSpPr>
        <p:spPr>
          <a:xfrm>
            <a:off x="230188" y="228606"/>
            <a:ext cx="8686800" cy="571182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89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40664" y="1847088"/>
            <a:ext cx="7424928" cy="2340864"/>
          </a:xfrm>
        </p:spPr>
        <p:txBody>
          <a:bodyPr/>
          <a:lstStyle>
            <a:lvl1pPr>
              <a:lnSpc>
                <a:spcPct val="100000"/>
              </a:lnSpc>
              <a:defRPr sz="404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5" y="6497358"/>
            <a:ext cx="125034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6410"/>
            <a:ext cx="5394960" cy="12279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798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endParaRPr lang="en-US">
              <a:cs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88C20D-62F6-4E86-8B08-4FA1646C3D8B}"/>
              </a:ext>
            </a:extLst>
          </p:cNvPr>
          <p:cNvSpPr txBox="1"/>
          <p:nvPr userDrawn="1"/>
        </p:nvSpPr>
        <p:spPr>
          <a:xfrm>
            <a:off x="5673713" y="6497359"/>
            <a:ext cx="2404670" cy="1227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798" baseline="0">
                <a:solidFill>
                  <a:srgbClr val="959595"/>
                </a:solidFill>
                <a:cs typeface="Arial" pitchFamily="34" charset="0"/>
              </a:rPr>
              <a:t>2021</a:t>
            </a:r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798" baseline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78558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Break_Lt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 Diagonal Corner Rectangle 2"/>
          <p:cNvSpPr/>
          <p:nvPr userDrawn="1"/>
        </p:nvSpPr>
        <p:spPr>
          <a:xfrm>
            <a:off x="230188" y="228606"/>
            <a:ext cx="8686800" cy="5711825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89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40664" y="1847088"/>
            <a:ext cx="7424928" cy="2340864"/>
          </a:xfrm>
        </p:spPr>
        <p:txBody>
          <a:bodyPr/>
          <a:lstStyle>
            <a:lvl1pPr>
              <a:lnSpc>
                <a:spcPct val="100000"/>
              </a:lnSpc>
              <a:defRPr sz="404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D3F3BCD5-4726-47FF-8408-86772496C25C}"/>
              </a:ext>
            </a:extLst>
          </p:cNvPr>
          <p:cNvSpPr txBox="1">
            <a:spLocks/>
          </p:cNvSpPr>
          <p:nvPr userDrawn="1"/>
        </p:nvSpPr>
        <p:spPr>
          <a:xfrm>
            <a:off x="8551922" y="6481589"/>
            <a:ext cx="125035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 defTabSz="912116"/>
            <a:fld id="{746372F0-8F5B-47E8-9A0C-8905EFF44332}" type="slidenum">
              <a:rPr lang="en-US" sz="798">
                <a:solidFill>
                  <a:srgbClr val="000000">
                    <a:tint val="75000"/>
                  </a:srgbClr>
                </a:solidFill>
              </a:rPr>
              <a:pPr defTabSz="912116"/>
              <a:t>‹#›</a:t>
            </a:fld>
            <a:endParaRPr lang="en-US" sz="798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733305D-A1F2-40BE-B0CC-E8BC8B306C8E}"/>
              </a:ext>
            </a:extLst>
          </p:cNvPr>
          <p:cNvSpPr txBox="1"/>
          <p:nvPr userDrawn="1"/>
        </p:nvSpPr>
        <p:spPr>
          <a:xfrm>
            <a:off x="5670988" y="6481589"/>
            <a:ext cx="2398721" cy="1227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defTabSz="912116" eaLnBrk="1" hangingPunct="1"/>
            <a:r>
              <a:rPr lang="en-US" altLang="en-US" sz="798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798">
                <a:solidFill>
                  <a:srgbClr val="959595"/>
                </a:solidFill>
                <a:cs typeface="Arial" pitchFamily="34" charset="0"/>
              </a:rPr>
              <a:t>2021</a:t>
            </a:r>
            <a:r>
              <a:rPr lang="en-US" altLang="en-US" sz="798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798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84394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Break_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 Diagonal Corner Rectangle 2"/>
          <p:cNvSpPr/>
          <p:nvPr userDrawn="1"/>
        </p:nvSpPr>
        <p:spPr>
          <a:xfrm>
            <a:off x="228600" y="230405"/>
            <a:ext cx="8686800" cy="5711825"/>
          </a:xfrm>
          <a:prstGeom prst="round2DiagRect">
            <a:avLst>
              <a:gd name="adj1" fmla="val 0"/>
              <a:gd name="adj2" fmla="val 0"/>
            </a:avLst>
          </a:prstGeom>
          <a:solidFill>
            <a:srgbClr val="2799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041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40664" y="1851803"/>
            <a:ext cx="7424928" cy="2340864"/>
          </a:xfrm>
        </p:spPr>
        <p:txBody>
          <a:bodyPr/>
          <a:lstStyle>
            <a:lvl1pPr>
              <a:lnSpc>
                <a:spcPct val="100000"/>
              </a:lnSpc>
              <a:defRPr sz="404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5" y="6497358"/>
            <a:ext cx="125034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4830"/>
            <a:ext cx="5394960" cy="12279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798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endParaRPr lang="en-US">
              <a:cs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3C86BF8-09E3-4AC1-9B15-3F00177485B5}"/>
              </a:ext>
            </a:extLst>
          </p:cNvPr>
          <p:cNvSpPr txBox="1"/>
          <p:nvPr userDrawn="1"/>
        </p:nvSpPr>
        <p:spPr>
          <a:xfrm>
            <a:off x="5673713" y="6497359"/>
            <a:ext cx="2404670" cy="1227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798" baseline="0">
                <a:solidFill>
                  <a:srgbClr val="959595"/>
                </a:solidFill>
                <a:cs typeface="Arial" pitchFamily="34" charset="0"/>
              </a:rPr>
              <a:t>2021</a:t>
            </a:r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798" baseline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261809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 noChangeAspect="1"/>
          </p:cNvSpPr>
          <p:nvPr>
            <p:ph type="title" hasCustomPrompt="1"/>
          </p:nvPr>
        </p:nvSpPr>
        <p:spPr>
          <a:xfrm>
            <a:off x="457200" y="115200"/>
            <a:ext cx="8229600" cy="9264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200" y="10656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57200" y="62640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5" y="6497358"/>
            <a:ext cx="125034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D6CA184-BD0E-4478-8B05-BF8276DBBD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358400"/>
            <a:ext cx="1828800" cy="4814400"/>
          </a:xfrm>
        </p:spPr>
        <p:txBody>
          <a:bodyPr/>
          <a:lstStyle/>
          <a:p>
            <a:endParaRPr lang="en-GB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1F82CAFC-3E11-42EE-95F9-501E65D4974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828800" y="1358400"/>
            <a:ext cx="1828800" cy="4814400"/>
          </a:xfrm>
        </p:spPr>
        <p:txBody>
          <a:bodyPr/>
          <a:lstStyle/>
          <a:p>
            <a:endParaRPr lang="en-GB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DCFF910A-AE28-4729-9AA4-0BD28E40A35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657600" y="1358400"/>
            <a:ext cx="1828800" cy="4814400"/>
          </a:xfrm>
        </p:spPr>
        <p:txBody>
          <a:bodyPr/>
          <a:lstStyle/>
          <a:p>
            <a:endParaRPr lang="en-GB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8B5629BA-4C8C-4611-9315-2B91C852F2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86400" y="1358400"/>
            <a:ext cx="1828800" cy="4814400"/>
          </a:xfrm>
        </p:spPr>
        <p:txBody>
          <a:bodyPr/>
          <a:lstStyle/>
          <a:p>
            <a:endParaRPr lang="en-GB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4A86ED42-C77D-47CA-BF74-539831D2F8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315200" y="1358400"/>
            <a:ext cx="1828800" cy="4814400"/>
          </a:xfrm>
        </p:spPr>
        <p:txBody>
          <a:bodyPr/>
          <a:lstStyle/>
          <a:p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A66BA37-F51C-4112-B65B-9C89B2C2610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57200" y="6496409"/>
            <a:ext cx="5394960" cy="12279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solidFill>
                <a:schemeClr val="bg1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8C5585-67AB-457C-B573-BBAEA3F88F9C}"/>
              </a:ext>
            </a:extLst>
          </p:cNvPr>
          <p:cNvSpPr txBox="1"/>
          <p:nvPr userDrawn="1"/>
        </p:nvSpPr>
        <p:spPr>
          <a:xfrm>
            <a:off x="5673713" y="6497359"/>
            <a:ext cx="2404670" cy="1227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798" baseline="0">
                <a:solidFill>
                  <a:srgbClr val="959595"/>
                </a:solidFill>
                <a:cs typeface="Arial" pitchFamily="34" charset="0"/>
              </a:rPr>
              <a:t>2021</a:t>
            </a:r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798" baseline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189051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115200"/>
            <a:ext cx="8229600" cy="9264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200" y="10656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57201" y="6264000"/>
            <a:ext cx="8424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5" y="6497358"/>
            <a:ext cx="125034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D6CA184-BD0E-4478-8B05-BF8276DBBD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358400"/>
            <a:ext cx="2286000" cy="3048000"/>
          </a:xfrm>
        </p:spPr>
        <p:txBody>
          <a:bodyPr/>
          <a:lstStyle/>
          <a:p>
            <a:endParaRPr lang="en-GB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881FCD54-0BC7-4E6C-A925-1F90E2B4F03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286000" y="1358400"/>
            <a:ext cx="2286000" cy="3048000"/>
          </a:xfrm>
        </p:spPr>
        <p:txBody>
          <a:bodyPr/>
          <a:lstStyle/>
          <a:p>
            <a:endParaRPr lang="en-GB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6C7DCDD-2490-4C32-A4AB-8B7BE56C6A8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1" y="1358400"/>
            <a:ext cx="2286000" cy="3048000"/>
          </a:xfrm>
        </p:spPr>
        <p:txBody>
          <a:bodyPr/>
          <a:lstStyle/>
          <a:p>
            <a:endParaRPr lang="en-GB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7BC38575-7431-46B6-98D6-A03641F62F2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58000" y="1358400"/>
            <a:ext cx="2286000" cy="3048000"/>
          </a:xfrm>
        </p:spPr>
        <p:txBody>
          <a:bodyPr/>
          <a:lstStyle/>
          <a:p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9015AC5-C00C-4549-A5DD-C7B1FBCFB4B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" y="4406900"/>
            <a:ext cx="2286000" cy="1766400"/>
          </a:xfrm>
          <a:solidFill>
            <a:srgbClr val="658D1B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09027" indent="0">
              <a:buNone/>
              <a:defRPr/>
            </a:lvl2pPr>
            <a:lvl3pPr marL="428741" indent="0">
              <a:buNone/>
              <a:defRPr/>
            </a:lvl3pPr>
            <a:lvl4pPr marL="638956" indent="0">
              <a:buNone/>
              <a:defRPr/>
            </a:lvl4pPr>
            <a:lvl5pPr marL="640144" indent="0">
              <a:buNone/>
              <a:defRPr/>
            </a:lvl5pPr>
          </a:lstStyle>
          <a:p>
            <a:pPr lvl="0"/>
            <a:endParaRPr lang="en-US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A891092-6FA6-4A59-B269-76A106BF25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86000" y="4406900"/>
            <a:ext cx="2286000" cy="1766400"/>
          </a:xfrm>
          <a:solidFill>
            <a:srgbClr val="279989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09027" indent="0">
              <a:buNone/>
              <a:defRPr/>
            </a:lvl2pPr>
            <a:lvl3pPr marL="428741" indent="0">
              <a:buNone/>
              <a:defRPr/>
            </a:lvl3pPr>
            <a:lvl4pPr marL="638956" indent="0">
              <a:buNone/>
              <a:defRPr/>
            </a:lvl4pPr>
            <a:lvl5pPr marL="640144" indent="0">
              <a:buNone/>
              <a:defRPr/>
            </a:lvl5pPr>
          </a:lstStyle>
          <a:p>
            <a:pPr lvl="0"/>
            <a:endParaRPr lang="en-US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BEE1A188-37C4-47CA-A029-D70C641E45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1" y="4406900"/>
            <a:ext cx="2286000" cy="1766400"/>
          </a:xfrm>
          <a:solidFill>
            <a:srgbClr val="00768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09027" indent="0">
              <a:buNone/>
              <a:defRPr/>
            </a:lvl2pPr>
            <a:lvl3pPr marL="428741" indent="0">
              <a:buNone/>
              <a:defRPr/>
            </a:lvl3pPr>
            <a:lvl4pPr marL="638956" indent="0">
              <a:buNone/>
              <a:defRPr/>
            </a:lvl4pPr>
            <a:lvl5pPr marL="640144" indent="0">
              <a:buNone/>
              <a:defRPr/>
            </a:lvl5pPr>
          </a:lstStyle>
          <a:p>
            <a:pPr lvl="0"/>
            <a:endParaRPr lang="en-US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86B1E21C-0BA5-4462-886C-A94CD57ABD3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58000" y="4406900"/>
            <a:ext cx="2286000" cy="1766400"/>
          </a:xfrm>
          <a:solidFill>
            <a:srgbClr val="005F86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09027" indent="0">
              <a:buNone/>
              <a:defRPr/>
            </a:lvl2pPr>
            <a:lvl3pPr marL="428741" indent="0">
              <a:buNone/>
              <a:defRPr/>
            </a:lvl3pPr>
            <a:lvl4pPr marL="638956" indent="0">
              <a:buNone/>
              <a:defRPr/>
            </a:lvl4pPr>
            <a:lvl5pPr marL="640144" indent="0">
              <a:buNone/>
              <a:defRPr/>
            </a:lvl5pPr>
          </a:lstStyle>
          <a:p>
            <a:pPr lvl="0"/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EEEC6469-238F-43CF-930F-5B8994F0BDE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57200" y="6494830"/>
            <a:ext cx="5394960" cy="12279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798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cs typeface="Arial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055D79C-D74C-4A8F-9E9F-8BB3F2194B56}"/>
              </a:ext>
            </a:extLst>
          </p:cNvPr>
          <p:cNvSpPr txBox="1"/>
          <p:nvPr userDrawn="1"/>
        </p:nvSpPr>
        <p:spPr>
          <a:xfrm>
            <a:off x="5673713" y="6497359"/>
            <a:ext cx="2404670" cy="1227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798" baseline="0">
                <a:solidFill>
                  <a:srgbClr val="959595"/>
                </a:solidFill>
                <a:cs typeface="Arial" pitchFamily="34" charset="0"/>
              </a:rPr>
              <a:t>2021</a:t>
            </a:r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798" baseline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719594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orl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123B5F1-85A0-492C-A9F9-D8A74BA7CD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59228" y="405233"/>
            <a:ext cx="10176774" cy="6505848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5" y="6497358"/>
            <a:ext cx="125034" cy="12279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9253A4E3-0F28-4836-BAD1-B361F59529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6709" y="1224000"/>
            <a:ext cx="8230092" cy="397952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96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0DA159A-4FE8-4382-9BB4-3EFD01E62C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94830"/>
            <a:ext cx="5394960" cy="12279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798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cs typeface="Arial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C3EBE44-0E85-4508-AA83-93D0F664BAC7}"/>
              </a:ext>
            </a:extLst>
          </p:cNvPr>
          <p:cNvCxnSpPr/>
          <p:nvPr userDrawn="1"/>
        </p:nvCxnSpPr>
        <p:spPr>
          <a:xfrm>
            <a:off x="457200" y="10668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6A2BCAF8-CC9C-451F-AB87-98726C05D230}"/>
              </a:ext>
            </a:extLst>
          </p:cNvPr>
          <p:cNvSpPr txBox="1"/>
          <p:nvPr userDrawn="1"/>
        </p:nvSpPr>
        <p:spPr>
          <a:xfrm>
            <a:off x="5673713" y="6497359"/>
            <a:ext cx="2404670" cy="1227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798" baseline="0">
                <a:solidFill>
                  <a:srgbClr val="959595"/>
                </a:solidFill>
                <a:cs typeface="Arial" pitchFamily="34" charset="0"/>
              </a:rPr>
              <a:t>2021</a:t>
            </a:r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798" baseline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700162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 text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535" y="116917"/>
            <a:ext cx="4608000" cy="92565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1224000"/>
            <a:ext cx="4608000" cy="39840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496" b="0">
                <a:solidFill>
                  <a:schemeClr val="accent2"/>
                </a:solidFill>
              </a:defRPr>
            </a:lvl1pPr>
            <a:lvl2pPr marL="342044" indent="0">
              <a:buNone/>
              <a:defRPr sz="1496" b="1"/>
            </a:lvl2pPr>
            <a:lvl3pPr marL="684087" indent="0">
              <a:buNone/>
              <a:defRPr sz="1347" b="1"/>
            </a:lvl3pPr>
            <a:lvl4pPr marL="1026131" indent="0">
              <a:buNone/>
              <a:defRPr sz="1197" b="1"/>
            </a:lvl4pPr>
            <a:lvl5pPr marL="1368174" indent="0">
              <a:buNone/>
              <a:defRPr sz="1197" b="1"/>
            </a:lvl5pPr>
            <a:lvl6pPr marL="1710217" indent="0">
              <a:buNone/>
              <a:defRPr sz="1197" b="1"/>
            </a:lvl6pPr>
            <a:lvl7pPr marL="2052260" indent="0">
              <a:buNone/>
              <a:defRPr sz="1197" b="1"/>
            </a:lvl7pPr>
            <a:lvl8pPr marL="2394304" indent="0">
              <a:buNone/>
              <a:defRPr sz="1197" b="1"/>
            </a:lvl8pPr>
            <a:lvl9pPr marL="2736348" indent="0">
              <a:buNone/>
              <a:defRPr sz="119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84800"/>
            <a:ext cx="4608000" cy="4320000"/>
          </a:xfrm>
        </p:spPr>
        <p:txBody>
          <a:bodyPr/>
          <a:lstStyle>
            <a:lvl1pPr>
              <a:lnSpc>
                <a:spcPct val="100000"/>
              </a:lnSpc>
              <a:defRPr sz="1347"/>
            </a:lvl1pPr>
            <a:lvl2pPr>
              <a:lnSpc>
                <a:spcPct val="100000"/>
              </a:lnSpc>
              <a:defRPr sz="1197"/>
            </a:lvl2pPr>
            <a:lvl3pPr>
              <a:lnSpc>
                <a:spcPct val="100000"/>
              </a:lnSpc>
              <a:defRPr sz="1197"/>
            </a:lvl3pPr>
            <a:lvl4pPr>
              <a:lnSpc>
                <a:spcPct val="100000"/>
              </a:lnSpc>
              <a:defRPr sz="1197"/>
            </a:lvl4pPr>
            <a:lvl5pPr>
              <a:defRPr sz="898"/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5076001" y="1"/>
            <a:ext cx="4068000" cy="6857996"/>
          </a:xfrm>
        </p:spPr>
        <p:txBody>
          <a:bodyPr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1048"/>
            </a:lvl1pPr>
          </a:lstStyle>
          <a:p>
            <a:pPr lvl="0"/>
            <a:r>
              <a:rPr lang="en-US" noProof="0"/>
              <a:t>Double click icon to add picture</a:t>
            </a:r>
          </a:p>
        </p:txBody>
      </p:sp>
      <p:sp>
        <p:nvSpPr>
          <p:cNvPr id="1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5" y="6497358"/>
            <a:ext cx="125034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6AA16C5-B421-4B9E-B5D5-B78A84466F5E}"/>
              </a:ext>
            </a:extLst>
          </p:cNvPr>
          <p:cNvSpPr txBox="1"/>
          <p:nvPr userDrawn="1"/>
        </p:nvSpPr>
        <p:spPr>
          <a:xfrm>
            <a:off x="5673602" y="6497359"/>
            <a:ext cx="2404670" cy="1227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798" baseline="0">
                <a:solidFill>
                  <a:srgbClr val="959595"/>
                </a:solidFill>
                <a:cs typeface="Arial" pitchFamily="34" charset="0"/>
              </a:rPr>
              <a:t>2021</a:t>
            </a:r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798" baseline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778914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 text and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24000"/>
            <a:ext cx="8229600" cy="39840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496" b="0">
                <a:solidFill>
                  <a:schemeClr val="accent2"/>
                </a:solidFill>
              </a:defRPr>
            </a:lvl1pPr>
            <a:lvl2pPr marL="342044" indent="0">
              <a:buNone/>
              <a:defRPr sz="1496" b="1"/>
            </a:lvl2pPr>
            <a:lvl3pPr marL="684087" indent="0">
              <a:buNone/>
              <a:defRPr sz="1347" b="1"/>
            </a:lvl3pPr>
            <a:lvl4pPr marL="1026131" indent="0">
              <a:buNone/>
              <a:defRPr sz="1197" b="1"/>
            </a:lvl4pPr>
            <a:lvl5pPr marL="1368174" indent="0">
              <a:buNone/>
              <a:defRPr sz="1197" b="1"/>
            </a:lvl5pPr>
            <a:lvl6pPr marL="1710217" indent="0">
              <a:buNone/>
              <a:defRPr sz="1197" b="1"/>
            </a:lvl6pPr>
            <a:lvl7pPr marL="2052260" indent="0">
              <a:buNone/>
              <a:defRPr sz="1197" b="1"/>
            </a:lvl7pPr>
            <a:lvl8pPr marL="2394304" indent="0">
              <a:buNone/>
              <a:defRPr sz="1197" b="1"/>
            </a:lvl8pPr>
            <a:lvl9pPr marL="2736348" indent="0">
              <a:buNone/>
              <a:defRPr sz="119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684800"/>
            <a:ext cx="4040188" cy="4320000"/>
          </a:xfrm>
        </p:spPr>
        <p:txBody>
          <a:bodyPr/>
          <a:lstStyle>
            <a:lvl1pPr>
              <a:lnSpc>
                <a:spcPct val="100000"/>
              </a:lnSpc>
              <a:defRPr sz="1347"/>
            </a:lvl1pPr>
            <a:lvl2pPr>
              <a:lnSpc>
                <a:spcPct val="100000"/>
              </a:lnSpc>
              <a:defRPr sz="1197"/>
            </a:lvl2pPr>
            <a:lvl3pPr>
              <a:lnSpc>
                <a:spcPct val="100000"/>
              </a:lnSpc>
              <a:defRPr sz="1197"/>
            </a:lvl3pPr>
            <a:lvl4pPr>
              <a:lnSpc>
                <a:spcPct val="100000"/>
              </a:lnSpc>
              <a:defRPr sz="1197"/>
            </a:lvl4pPr>
            <a:lvl5pPr>
              <a:defRPr sz="898"/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4644000" y="1684800"/>
            <a:ext cx="4042800" cy="4320000"/>
          </a:xfrm>
        </p:spPr>
        <p:txBody>
          <a:bodyPr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1048"/>
            </a:lvl1pPr>
          </a:lstStyle>
          <a:p>
            <a:pPr lvl="0"/>
            <a:r>
              <a:rPr lang="en-US" noProof="0"/>
              <a:t>Double click icon to add picture</a:t>
            </a:r>
          </a:p>
        </p:txBody>
      </p:sp>
      <p:sp>
        <p:nvSpPr>
          <p:cNvPr id="1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5" y="6497358"/>
            <a:ext cx="125034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6409"/>
            <a:ext cx="5394960" cy="12279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GB">
              <a:solidFill>
                <a:srgbClr val="97999B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200" y="10668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C2EDF6C-238C-4A3E-9AA7-EA9FDC45443E}"/>
              </a:ext>
            </a:extLst>
          </p:cNvPr>
          <p:cNvSpPr txBox="1"/>
          <p:nvPr userDrawn="1"/>
        </p:nvSpPr>
        <p:spPr>
          <a:xfrm>
            <a:off x="5673713" y="6497359"/>
            <a:ext cx="2404670" cy="1227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798" baseline="0">
                <a:solidFill>
                  <a:srgbClr val="959595"/>
                </a:solidFill>
                <a:cs typeface="Arial" pitchFamily="34" charset="0"/>
              </a:rPr>
              <a:t>2021</a:t>
            </a:r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798" baseline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558687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200" y="10668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5" y="6497358"/>
            <a:ext cx="125034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4830"/>
            <a:ext cx="5394960" cy="12279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798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cs typeface="Arial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E04472-216E-404A-8DC0-3FACD505E415}"/>
              </a:ext>
            </a:extLst>
          </p:cNvPr>
          <p:cNvSpPr txBox="1"/>
          <p:nvPr userDrawn="1"/>
        </p:nvSpPr>
        <p:spPr>
          <a:xfrm>
            <a:off x="5673713" y="6497359"/>
            <a:ext cx="2404670" cy="1227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798" baseline="0">
                <a:solidFill>
                  <a:srgbClr val="959595"/>
                </a:solidFill>
                <a:cs typeface="Arial" pitchFamily="34" charset="0"/>
              </a:rPr>
              <a:t>2021</a:t>
            </a:r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798" baseline="0">
              <a:cs typeface="Arial" pitchFamily="34" charset="0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50B32F1-C173-45E5-A9A1-748DE5DE929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7200" y="1224000"/>
            <a:ext cx="8229600" cy="480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903885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LowColo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758827" y="4562475"/>
            <a:ext cx="631825" cy="1539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40665" y="2258568"/>
            <a:ext cx="7514337" cy="2057400"/>
          </a:xfrm>
          <a:noFill/>
        </p:spPr>
        <p:txBody>
          <a:bodyPr t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400" b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cover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>
          <a:xfrm>
            <a:off x="740664" y="4791456"/>
            <a:ext cx="5486400" cy="1271016"/>
          </a:xfrm>
          <a:noFill/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0" baseline="0">
                <a:solidFill>
                  <a:schemeClr val="accent2"/>
                </a:solidFill>
                <a:latin typeface="+mn-lt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cover sub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775157" y="6511173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</a:t>
            </a:r>
            <a:r>
              <a:rPr lang="en-US" altLang="en-US" sz="700" baseline="30000" dirty="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70156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ingle col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6709" y="1223424"/>
            <a:ext cx="8230092" cy="397952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96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57200" y="10668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5" y="6497358"/>
            <a:ext cx="125034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4830"/>
            <a:ext cx="5394960" cy="12279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798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cs typeface="Arial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16BD60-14C9-4D2B-AE0D-10CC0DD3140D}"/>
              </a:ext>
            </a:extLst>
          </p:cNvPr>
          <p:cNvSpPr txBox="1"/>
          <p:nvPr userDrawn="1"/>
        </p:nvSpPr>
        <p:spPr>
          <a:xfrm>
            <a:off x="5673713" y="6497359"/>
            <a:ext cx="2404670" cy="1227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798" baseline="0">
                <a:solidFill>
                  <a:srgbClr val="959595"/>
                </a:solidFill>
                <a:cs typeface="Arial" pitchFamily="34" charset="0"/>
              </a:rPr>
              <a:t>2021</a:t>
            </a:r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798" baseline="0">
              <a:cs typeface="Arial" pitchFamily="34" charset="0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0736CE-D8C6-49B4-AA8B-C45AFC8A3FC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0" y="1684800"/>
            <a:ext cx="8229600" cy="43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8853725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536" y="115204"/>
            <a:ext cx="8229600" cy="925651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24000"/>
            <a:ext cx="4039200" cy="39840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496" b="0">
                <a:solidFill>
                  <a:schemeClr val="accent2"/>
                </a:solidFill>
              </a:defRPr>
            </a:lvl1pPr>
            <a:lvl2pPr marL="342044" indent="0">
              <a:buNone/>
              <a:defRPr sz="1496" b="1"/>
            </a:lvl2pPr>
            <a:lvl3pPr marL="684087" indent="0">
              <a:buNone/>
              <a:defRPr sz="1347" b="1"/>
            </a:lvl3pPr>
            <a:lvl4pPr marL="1026131" indent="0">
              <a:buNone/>
              <a:defRPr sz="1197" b="1"/>
            </a:lvl4pPr>
            <a:lvl5pPr marL="1368174" indent="0">
              <a:buNone/>
              <a:defRPr sz="1197" b="1"/>
            </a:lvl5pPr>
            <a:lvl6pPr marL="1710217" indent="0">
              <a:buNone/>
              <a:defRPr sz="1197" b="1"/>
            </a:lvl6pPr>
            <a:lvl7pPr marL="2052260" indent="0">
              <a:buNone/>
              <a:defRPr sz="1197" b="1"/>
            </a:lvl7pPr>
            <a:lvl8pPr marL="2394304" indent="0">
              <a:buNone/>
              <a:defRPr sz="1197" b="1"/>
            </a:lvl8pPr>
            <a:lvl9pPr marL="2736348" indent="0">
              <a:buNone/>
              <a:defRPr sz="119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84800"/>
            <a:ext cx="4039200" cy="4320000"/>
          </a:xfrm>
        </p:spPr>
        <p:txBody>
          <a:bodyPr/>
          <a:lstStyle>
            <a:lvl1pPr>
              <a:lnSpc>
                <a:spcPct val="100000"/>
              </a:lnSpc>
              <a:defRPr sz="1347"/>
            </a:lvl1pPr>
            <a:lvl2pPr>
              <a:lnSpc>
                <a:spcPct val="100000"/>
              </a:lnSpc>
              <a:defRPr sz="1197"/>
            </a:lvl2pPr>
            <a:lvl3pPr>
              <a:lnSpc>
                <a:spcPct val="100000"/>
              </a:lnSpc>
              <a:defRPr sz="1197"/>
            </a:lvl3pPr>
            <a:lvl4pPr>
              <a:lnSpc>
                <a:spcPct val="100000"/>
              </a:lnSpc>
              <a:defRPr sz="1197"/>
            </a:lvl4pPr>
            <a:lvl5pPr>
              <a:defRPr sz="898"/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224000"/>
            <a:ext cx="4041775" cy="39840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496" b="0">
                <a:solidFill>
                  <a:schemeClr val="accent2"/>
                </a:solidFill>
              </a:defRPr>
            </a:lvl1pPr>
            <a:lvl2pPr marL="342044" indent="0">
              <a:buNone/>
              <a:defRPr sz="1496" b="1"/>
            </a:lvl2pPr>
            <a:lvl3pPr marL="684087" indent="0">
              <a:buNone/>
              <a:defRPr sz="1347" b="1"/>
            </a:lvl3pPr>
            <a:lvl4pPr marL="1026131" indent="0">
              <a:buNone/>
              <a:defRPr sz="1197" b="1"/>
            </a:lvl4pPr>
            <a:lvl5pPr marL="1368174" indent="0">
              <a:buNone/>
              <a:defRPr sz="1197" b="1"/>
            </a:lvl5pPr>
            <a:lvl6pPr marL="1710217" indent="0">
              <a:buNone/>
              <a:defRPr sz="1197" b="1"/>
            </a:lvl6pPr>
            <a:lvl7pPr marL="2052260" indent="0">
              <a:buNone/>
              <a:defRPr sz="1197" b="1"/>
            </a:lvl7pPr>
            <a:lvl8pPr marL="2394304" indent="0">
              <a:buNone/>
              <a:defRPr sz="1197" b="1"/>
            </a:lvl8pPr>
            <a:lvl9pPr marL="2736348" indent="0">
              <a:buNone/>
              <a:defRPr sz="119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1684800"/>
            <a:ext cx="4041775" cy="4320000"/>
          </a:xfrm>
        </p:spPr>
        <p:txBody>
          <a:bodyPr/>
          <a:lstStyle>
            <a:lvl1pPr>
              <a:lnSpc>
                <a:spcPct val="100000"/>
              </a:lnSpc>
              <a:defRPr sz="1347"/>
            </a:lvl1pPr>
            <a:lvl2pPr>
              <a:lnSpc>
                <a:spcPct val="100000"/>
              </a:lnSpc>
              <a:defRPr sz="1197"/>
            </a:lvl2pPr>
            <a:lvl3pPr>
              <a:lnSpc>
                <a:spcPct val="100000"/>
              </a:lnSpc>
              <a:defRPr sz="1197"/>
            </a:lvl3pPr>
            <a:lvl4pPr>
              <a:lnSpc>
                <a:spcPct val="100000"/>
              </a:lnSpc>
              <a:defRPr sz="1197"/>
            </a:lvl4pPr>
            <a:lvl5pPr>
              <a:defRPr sz="898"/>
            </a:lvl5pPr>
            <a:lvl6pPr>
              <a:defRPr sz="1197"/>
            </a:lvl6pPr>
            <a:lvl7pPr>
              <a:defRPr sz="1197"/>
            </a:lvl7pPr>
            <a:lvl8pPr>
              <a:defRPr sz="1197"/>
            </a:lvl8pPr>
            <a:lvl9pPr>
              <a:defRPr sz="1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562105" y="6497358"/>
            <a:ext cx="125034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" y="6494830"/>
            <a:ext cx="5394960" cy="12279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798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200" y="10668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B0B46D41-5A3B-495D-8E75-88D127AF7536}"/>
              </a:ext>
            </a:extLst>
          </p:cNvPr>
          <p:cNvSpPr txBox="1"/>
          <p:nvPr userDrawn="1"/>
        </p:nvSpPr>
        <p:spPr>
          <a:xfrm>
            <a:off x="5673713" y="6497359"/>
            <a:ext cx="2404670" cy="1227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798" baseline="0">
                <a:solidFill>
                  <a:srgbClr val="959595"/>
                </a:solidFill>
                <a:cs typeface="Arial" pitchFamily="34" charset="0"/>
              </a:rPr>
              <a:t>2021</a:t>
            </a:r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798" baseline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165034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6709" y="1223424"/>
            <a:ext cx="4777200" cy="39795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96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57200" y="10668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5" y="6497358"/>
            <a:ext cx="125034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4830"/>
            <a:ext cx="5394960" cy="12279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798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cs typeface="Arial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682632"/>
            <a:ext cx="4777200" cy="4320000"/>
          </a:xfrm>
        </p:spPr>
        <p:txBody>
          <a:bodyPr/>
          <a:lstStyle>
            <a:lvl1pPr>
              <a:defRPr sz="1347"/>
            </a:lvl1pPr>
            <a:lvl2pPr>
              <a:defRPr sz="1197"/>
            </a:lvl2pPr>
            <a:lvl4pPr>
              <a:defRPr sz="1197"/>
            </a:lvl4pPr>
            <a:lvl5pPr marL="640144" indent="0">
              <a:buNone/>
              <a:defRPr sz="104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C5A0B77-3E92-4AA2-B970-41908293497A}"/>
              </a:ext>
            </a:extLst>
          </p:cNvPr>
          <p:cNvGrpSpPr/>
          <p:nvPr userDrawn="1"/>
        </p:nvGrpSpPr>
        <p:grpSpPr>
          <a:xfrm>
            <a:off x="5774401" y="1240402"/>
            <a:ext cx="2938031" cy="4646265"/>
            <a:chOff x="6033600" y="930298"/>
            <a:chExt cx="2938031" cy="3484699"/>
          </a:xfrm>
        </p:grpSpPr>
        <p:sp>
          <p:nvSpPr>
            <p:cNvPr id="10" name="Round Diagonal Corner Rectangle 9">
              <a:extLst>
                <a:ext uri="{FF2B5EF4-FFF2-40B4-BE49-F238E27FC236}">
                  <a16:creationId xmlns:a16="http://schemas.microsoft.com/office/drawing/2014/main" id="{F4A9E267-9C7E-45F1-BB06-5D96BAA0376D}"/>
                </a:ext>
              </a:extLst>
            </p:cNvPr>
            <p:cNvSpPr/>
            <p:nvPr/>
          </p:nvSpPr>
          <p:spPr>
            <a:xfrm>
              <a:off x="6033601" y="2208542"/>
              <a:ext cx="2938030" cy="2206455"/>
            </a:xfrm>
            <a:prstGeom prst="round2DiagRect">
              <a:avLst>
                <a:gd name="adj1" fmla="val 12782"/>
                <a:gd name="adj2" fmla="val 0"/>
              </a:avLst>
            </a:prstGeom>
            <a:solidFill>
              <a:srgbClr val="005F8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40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47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" name="Round Diagonal Corner Rectangle 10">
              <a:extLst>
                <a:ext uri="{FF2B5EF4-FFF2-40B4-BE49-F238E27FC236}">
                  <a16:creationId xmlns:a16="http://schemas.microsoft.com/office/drawing/2014/main" id="{41359E97-B8F6-4703-8662-A3809AF3B07F}"/>
                </a:ext>
              </a:extLst>
            </p:cNvPr>
            <p:cNvSpPr/>
            <p:nvPr/>
          </p:nvSpPr>
          <p:spPr>
            <a:xfrm flipH="1">
              <a:off x="6979173" y="930298"/>
              <a:ext cx="1986108" cy="1191084"/>
            </a:xfrm>
            <a:prstGeom prst="round2DiagRect">
              <a:avLst>
                <a:gd name="adj1" fmla="val 0"/>
                <a:gd name="adj2" fmla="val 22900"/>
              </a:avLst>
            </a:prstGeom>
            <a:solidFill>
              <a:srgbClr val="00768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40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47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7" name="Round Diagonal Corner Rectangle 5">
              <a:extLst>
                <a:ext uri="{FF2B5EF4-FFF2-40B4-BE49-F238E27FC236}">
                  <a16:creationId xmlns:a16="http://schemas.microsoft.com/office/drawing/2014/main" id="{6DEC578D-63EA-4F9C-9C07-539223C24B4A}"/>
                </a:ext>
              </a:extLst>
            </p:cNvPr>
            <p:cNvSpPr/>
            <p:nvPr/>
          </p:nvSpPr>
          <p:spPr>
            <a:xfrm>
              <a:off x="6033600" y="1547614"/>
              <a:ext cx="852056" cy="575612"/>
            </a:xfrm>
            <a:prstGeom prst="round2DiagRect">
              <a:avLst>
                <a:gd name="adj1" fmla="val 0"/>
                <a:gd name="adj2" fmla="val 46032"/>
              </a:avLst>
            </a:prstGeom>
            <a:solidFill>
              <a:schemeClr val="tx2">
                <a:lumMod val="9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40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47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00C620-C8F2-4119-9FC6-E4D4E4A835B1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6062403" y="3315022"/>
            <a:ext cx="2327274" cy="1881717"/>
          </a:xfrm>
        </p:spPr>
        <p:txBody>
          <a:bodyPr lIns="90000" tIns="46800" rIns="90000" bIns="0"/>
          <a:lstStyle>
            <a:lvl1pPr marL="0" indent="0">
              <a:buNone/>
              <a:defRPr sz="179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BF2FCB5-B504-43E6-BF6A-A3E60E3CEFAB}"/>
              </a:ext>
            </a:extLst>
          </p:cNvPr>
          <p:cNvSpPr txBox="1"/>
          <p:nvPr userDrawn="1"/>
        </p:nvSpPr>
        <p:spPr>
          <a:xfrm>
            <a:off x="5673713" y="6497359"/>
            <a:ext cx="2404670" cy="1227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798" baseline="0">
                <a:solidFill>
                  <a:srgbClr val="959595"/>
                </a:solidFill>
                <a:cs typeface="Arial" pitchFamily="34" charset="0"/>
              </a:rPr>
              <a:t>2021</a:t>
            </a:r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798" baseline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278657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457200" y="1066800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altLang="en-US"/>
              <a:t>Click to edit slide title</a:t>
            </a:r>
            <a:endParaRPr lang="en-US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5" y="6534179"/>
            <a:ext cx="125034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6409"/>
            <a:ext cx="5394960" cy="12279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GB">
              <a:solidFill>
                <a:srgbClr val="97999B"/>
              </a:solidFill>
              <a:cs typeface="Arial" charset="0"/>
            </a:endParaRPr>
          </a:p>
        </p:txBody>
      </p:sp>
      <p:sp>
        <p:nvSpPr>
          <p:cNvPr id="11" name="Rectangle: Diagonal Corners Rounded 10">
            <a:extLst>
              <a:ext uri="{FF2B5EF4-FFF2-40B4-BE49-F238E27FC236}">
                <a16:creationId xmlns:a16="http://schemas.microsoft.com/office/drawing/2014/main" id="{00E84639-EB2B-4F8A-BD49-4A337279A179}"/>
              </a:ext>
            </a:extLst>
          </p:cNvPr>
          <p:cNvSpPr/>
          <p:nvPr/>
        </p:nvSpPr>
        <p:spPr>
          <a:xfrm>
            <a:off x="4765422" y="2165084"/>
            <a:ext cx="1893600" cy="1915200"/>
          </a:xfrm>
          <a:prstGeom prst="round2DiagRect">
            <a:avLst>
              <a:gd name="adj1" fmla="val 13272"/>
              <a:gd name="adj2" fmla="val 0"/>
            </a:avLst>
          </a:prstGeom>
          <a:solidFill>
            <a:srgbClr val="2799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21" rtlCol="0" anchor="ctr"/>
          <a:lstStyle/>
          <a:p>
            <a:pPr defTabSz="912094">
              <a:defRPr/>
            </a:pPr>
            <a:endParaRPr lang="en-US" altLang="zh-CN" sz="1197">
              <a:solidFill>
                <a:srgbClr val="FFFFFF"/>
              </a:solidFill>
              <a:latin typeface="Arial"/>
              <a:ea typeface="黑体" panose="02010609060101010101" pitchFamily="49" charset="-122"/>
            </a:endParaRPr>
          </a:p>
        </p:txBody>
      </p:sp>
      <p:sp>
        <p:nvSpPr>
          <p:cNvPr id="12" name="Rectangle: Diagonal Corners Rounded 11">
            <a:extLst>
              <a:ext uri="{FF2B5EF4-FFF2-40B4-BE49-F238E27FC236}">
                <a16:creationId xmlns:a16="http://schemas.microsoft.com/office/drawing/2014/main" id="{49713EEE-65AE-4988-AB48-DF58D893877A}"/>
              </a:ext>
            </a:extLst>
          </p:cNvPr>
          <p:cNvSpPr/>
          <p:nvPr/>
        </p:nvSpPr>
        <p:spPr>
          <a:xfrm>
            <a:off x="2383731" y="2402776"/>
            <a:ext cx="2296903" cy="1366437"/>
          </a:xfrm>
          <a:prstGeom prst="round2DiagRect">
            <a:avLst>
              <a:gd name="adj1" fmla="val 0"/>
              <a:gd name="adj2" fmla="val 18418"/>
            </a:avLst>
          </a:prstGeom>
          <a:solidFill>
            <a:srgbClr val="0076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21" rtlCol="0" anchor="ctr"/>
          <a:lstStyle/>
          <a:p>
            <a:pPr defTabSz="912094">
              <a:defRPr/>
            </a:pPr>
            <a:endParaRPr lang="en-US" altLang="zh-CN" sz="1197">
              <a:solidFill>
                <a:srgbClr val="FFFFFF"/>
              </a:solidFill>
              <a:latin typeface="Arial"/>
              <a:ea typeface="黑体" panose="02010609060101010101" pitchFamily="49" charset="-122"/>
            </a:endParaRPr>
          </a:p>
        </p:txBody>
      </p:sp>
      <p:sp>
        <p:nvSpPr>
          <p:cNvPr id="13" name="Rectangle: Diagonal Corners Rounded 12">
            <a:extLst>
              <a:ext uri="{FF2B5EF4-FFF2-40B4-BE49-F238E27FC236}">
                <a16:creationId xmlns:a16="http://schemas.microsoft.com/office/drawing/2014/main" id="{A6960BFC-5871-4FE4-A4F2-06A372BA461A}"/>
              </a:ext>
            </a:extLst>
          </p:cNvPr>
          <p:cNvSpPr/>
          <p:nvPr/>
        </p:nvSpPr>
        <p:spPr>
          <a:xfrm>
            <a:off x="-403452" y="2534156"/>
            <a:ext cx="1113725" cy="941213"/>
          </a:xfrm>
          <a:prstGeom prst="round2DiagRect">
            <a:avLst>
              <a:gd name="adj1" fmla="val 23706"/>
              <a:gd name="adj2" fmla="val 0"/>
            </a:avLst>
          </a:prstGeom>
          <a:solidFill>
            <a:srgbClr val="ABAD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094">
              <a:defRPr/>
            </a:pPr>
            <a:endParaRPr lang="en-US" sz="1796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Rectangle: Diagonal Corners Rounded 13">
            <a:extLst>
              <a:ext uri="{FF2B5EF4-FFF2-40B4-BE49-F238E27FC236}">
                <a16:creationId xmlns:a16="http://schemas.microsoft.com/office/drawing/2014/main" id="{FD0755F2-2427-4496-A93D-2007E0F21D2E}"/>
              </a:ext>
            </a:extLst>
          </p:cNvPr>
          <p:cNvSpPr/>
          <p:nvPr/>
        </p:nvSpPr>
        <p:spPr>
          <a:xfrm>
            <a:off x="-727194" y="3574368"/>
            <a:ext cx="1418214" cy="1485816"/>
          </a:xfrm>
          <a:prstGeom prst="round2DiagRect">
            <a:avLst>
              <a:gd name="adj1" fmla="val 0"/>
              <a:gd name="adj2" fmla="val 15238"/>
            </a:avLst>
          </a:prstGeom>
          <a:solidFill>
            <a:srgbClr val="2799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094">
              <a:defRPr/>
            </a:pPr>
            <a:endParaRPr lang="en-US" sz="1796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Rectangle: Diagonal Corners Rounded 14">
            <a:extLst>
              <a:ext uri="{FF2B5EF4-FFF2-40B4-BE49-F238E27FC236}">
                <a16:creationId xmlns:a16="http://schemas.microsoft.com/office/drawing/2014/main" id="{B87CA2F0-4B25-47DD-8E56-9A24D1BABF83}"/>
              </a:ext>
            </a:extLst>
          </p:cNvPr>
          <p:cNvSpPr/>
          <p:nvPr/>
        </p:nvSpPr>
        <p:spPr>
          <a:xfrm>
            <a:off x="2942722" y="3884977"/>
            <a:ext cx="1753311" cy="1699783"/>
          </a:xfrm>
          <a:prstGeom prst="round2DiagRect">
            <a:avLst>
              <a:gd name="adj1" fmla="val 18175"/>
              <a:gd name="adj2" fmla="val 0"/>
            </a:avLst>
          </a:prstGeom>
          <a:solidFill>
            <a:srgbClr val="ABAD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21" rtlCol="0" anchor="ctr"/>
          <a:lstStyle/>
          <a:p>
            <a:pPr defTabSz="912094">
              <a:defRPr/>
            </a:pPr>
            <a:endParaRPr lang="en-US" altLang="zh-CN" sz="1197">
              <a:solidFill>
                <a:srgbClr val="FFFFFF"/>
              </a:solidFill>
              <a:latin typeface="Arial"/>
              <a:ea typeface="黑体" panose="02010609060101010101" pitchFamily="49" charset="-122"/>
            </a:endParaRPr>
          </a:p>
        </p:txBody>
      </p:sp>
      <p:sp>
        <p:nvSpPr>
          <p:cNvPr id="16" name="Rectangle: Diagonal Corners Rounded 15">
            <a:extLst>
              <a:ext uri="{FF2B5EF4-FFF2-40B4-BE49-F238E27FC236}">
                <a16:creationId xmlns:a16="http://schemas.microsoft.com/office/drawing/2014/main" id="{1BA56F2A-506A-4D7E-8EC0-7FF8D8398B4B}"/>
              </a:ext>
            </a:extLst>
          </p:cNvPr>
          <p:cNvSpPr/>
          <p:nvPr/>
        </p:nvSpPr>
        <p:spPr>
          <a:xfrm>
            <a:off x="792902" y="2038026"/>
            <a:ext cx="1508406" cy="1725661"/>
          </a:xfrm>
          <a:prstGeom prst="round2DiagRect">
            <a:avLst>
              <a:gd name="adj1" fmla="val 0"/>
              <a:gd name="adj2" fmla="val 14728"/>
            </a:avLst>
          </a:prstGeom>
          <a:solidFill>
            <a:srgbClr val="2799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21" rtlCol="0" anchor="ctr"/>
          <a:lstStyle/>
          <a:p>
            <a:pPr defTabSz="912094">
              <a:defRPr/>
            </a:pPr>
            <a:endParaRPr lang="en-US" altLang="zh-CN" sz="1197">
              <a:solidFill>
                <a:srgbClr val="FFFFFF"/>
              </a:solidFill>
              <a:latin typeface="Arial"/>
              <a:ea typeface="黑体" panose="02010609060101010101" pitchFamily="49" charset="-122"/>
            </a:endParaRPr>
          </a:p>
        </p:txBody>
      </p:sp>
      <p:sp>
        <p:nvSpPr>
          <p:cNvPr id="17" name="Rectangle: Diagonal Corners Rounded 16">
            <a:extLst>
              <a:ext uri="{FF2B5EF4-FFF2-40B4-BE49-F238E27FC236}">
                <a16:creationId xmlns:a16="http://schemas.microsoft.com/office/drawing/2014/main" id="{1F1A51FD-0D19-435D-95DF-235426D2E7AD}"/>
              </a:ext>
            </a:extLst>
          </p:cNvPr>
          <p:cNvSpPr/>
          <p:nvPr/>
        </p:nvSpPr>
        <p:spPr>
          <a:xfrm>
            <a:off x="777080" y="3877734"/>
            <a:ext cx="2087932" cy="1699767"/>
          </a:xfrm>
          <a:prstGeom prst="round2DiagRect">
            <a:avLst>
              <a:gd name="adj1" fmla="val 19298"/>
              <a:gd name="adj2" fmla="val 0"/>
            </a:avLst>
          </a:prstGeom>
          <a:solidFill>
            <a:srgbClr val="0076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21" rtlCol="0" anchor="ctr"/>
          <a:lstStyle/>
          <a:p>
            <a:pPr defTabSz="912094">
              <a:defRPr/>
            </a:pPr>
            <a:endParaRPr lang="en-US" altLang="zh-CN" sz="1197">
              <a:solidFill>
                <a:srgbClr val="FFFFFF"/>
              </a:solidFill>
              <a:latin typeface="Arial"/>
              <a:ea typeface="黑体" panose="02010609060101010101" pitchFamily="49" charset="-122"/>
            </a:endParaRPr>
          </a:p>
        </p:txBody>
      </p:sp>
      <p:sp>
        <p:nvSpPr>
          <p:cNvPr id="18" name="Rectangle: Diagonal Corners Rounded 17">
            <a:extLst>
              <a:ext uri="{FF2B5EF4-FFF2-40B4-BE49-F238E27FC236}">
                <a16:creationId xmlns:a16="http://schemas.microsoft.com/office/drawing/2014/main" id="{84CE7CF0-722E-4544-B1CE-BB464E3E74EB}"/>
              </a:ext>
            </a:extLst>
          </p:cNvPr>
          <p:cNvSpPr/>
          <p:nvPr/>
        </p:nvSpPr>
        <p:spPr>
          <a:xfrm>
            <a:off x="4773648" y="4188812"/>
            <a:ext cx="1894320" cy="1081957"/>
          </a:xfrm>
          <a:prstGeom prst="round2DiagRect">
            <a:avLst>
              <a:gd name="adj1" fmla="val 0"/>
              <a:gd name="adj2" fmla="val 19156"/>
            </a:avLst>
          </a:prstGeom>
          <a:solidFill>
            <a:srgbClr val="0076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094">
              <a:defRPr/>
            </a:pPr>
            <a:endParaRPr lang="en-US" sz="1796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Rectangle: Diagonal Corners Rounded 18">
            <a:extLst>
              <a:ext uri="{FF2B5EF4-FFF2-40B4-BE49-F238E27FC236}">
                <a16:creationId xmlns:a16="http://schemas.microsoft.com/office/drawing/2014/main" id="{A9E2CCEA-6D11-40AA-B5AE-712972F3DA1A}"/>
              </a:ext>
            </a:extLst>
          </p:cNvPr>
          <p:cNvSpPr/>
          <p:nvPr/>
        </p:nvSpPr>
        <p:spPr>
          <a:xfrm>
            <a:off x="2383731" y="1635560"/>
            <a:ext cx="1113725" cy="669621"/>
          </a:xfrm>
          <a:prstGeom prst="round2DiagRect">
            <a:avLst>
              <a:gd name="adj1" fmla="val 31453"/>
              <a:gd name="adj2" fmla="val 0"/>
            </a:avLst>
          </a:prstGeom>
          <a:solidFill>
            <a:srgbClr val="ABAD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094">
              <a:defRPr/>
            </a:pPr>
            <a:endParaRPr lang="en-US" sz="1796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3908A5-6F27-477D-B2F1-2B0F7B9592E7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976432" y="4090106"/>
            <a:ext cx="1610030" cy="1159537"/>
          </a:xfrm>
        </p:spPr>
        <p:txBody>
          <a:bodyPr/>
          <a:lstStyle>
            <a:lvl1pPr marL="0" indent="0">
              <a:buNone/>
              <a:defRPr sz="119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1D0D3CB-0CF4-4A27-9502-652BCC96B375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3172272" y="4090106"/>
            <a:ext cx="1212189" cy="1174365"/>
          </a:xfrm>
        </p:spPr>
        <p:txBody>
          <a:bodyPr/>
          <a:lstStyle>
            <a:lvl1pPr marL="0" indent="0">
              <a:buNone/>
              <a:defRPr sz="119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15A597D-F056-478A-B18F-B3D871E98FF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83311" y="2204348"/>
            <a:ext cx="1108666" cy="1201689"/>
          </a:xfrm>
        </p:spPr>
        <p:txBody>
          <a:bodyPr/>
          <a:lstStyle>
            <a:lvl1pPr marL="0" indent="0">
              <a:buNone/>
              <a:defRPr sz="119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9873470-7CB3-4CA5-8BE9-FB502B2434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95826" y="2589299"/>
            <a:ext cx="1854762" cy="861856"/>
          </a:xfrm>
        </p:spPr>
        <p:txBody>
          <a:bodyPr/>
          <a:lstStyle>
            <a:lvl1pPr marL="0" indent="0">
              <a:buNone/>
              <a:defRPr sz="119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2C942D08-4EC3-4863-99A9-347F84DADC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51610" y="2386129"/>
            <a:ext cx="1483958" cy="1377559"/>
          </a:xfrm>
        </p:spPr>
        <p:txBody>
          <a:bodyPr/>
          <a:lstStyle>
            <a:lvl1pPr marL="0" indent="0">
              <a:buNone/>
              <a:defRPr sz="119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63" name="Ink 62">
                <a:extLst>
                  <a:ext uri="{FF2B5EF4-FFF2-40B4-BE49-F238E27FC236}">
                    <a16:creationId xmlns:a16="http://schemas.microsoft.com/office/drawing/2014/main" id="{C945F9E1-E051-4CC4-8508-16AC93E59B80}"/>
                  </a:ext>
                </a:extLst>
              </p14:cNvPr>
              <p14:cNvContentPartPr/>
              <p14:nvPr userDrawn="1"/>
            </p14:nvContentPartPr>
            <p14:xfrm>
              <a:off x="5016820" y="5882227"/>
              <a:ext cx="360" cy="480"/>
            </p14:xfrm>
          </p:contentPart>
        </mc:Choice>
        <mc:Fallback xmlns="">
          <p:pic>
            <p:nvPicPr>
              <p:cNvPr id="63" name="Ink 62">
                <a:extLst>
                  <a:ext uri="{FF2B5EF4-FFF2-40B4-BE49-F238E27FC236}">
                    <a16:creationId xmlns:a16="http://schemas.microsoft.com/office/drawing/2014/main" id="{C945F9E1-E051-4CC4-8508-16AC93E59B80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007820" y="5870227"/>
                <a:ext cx="18000" cy="24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67" name="Ink 66">
                <a:extLst>
                  <a:ext uri="{FF2B5EF4-FFF2-40B4-BE49-F238E27FC236}">
                    <a16:creationId xmlns:a16="http://schemas.microsoft.com/office/drawing/2014/main" id="{23F45C98-8EFB-4D66-A36D-4EB5D274A5B3}"/>
                  </a:ext>
                </a:extLst>
              </p14:cNvPr>
              <p14:cNvContentPartPr/>
              <p14:nvPr userDrawn="1"/>
            </p14:nvContentPartPr>
            <p14:xfrm>
              <a:off x="1912179" y="50707"/>
              <a:ext cx="360" cy="480"/>
            </p14:xfrm>
          </p:contentPart>
        </mc:Choice>
        <mc:Fallback xmlns="">
          <p:pic>
            <p:nvPicPr>
              <p:cNvPr id="67" name="Ink 66">
                <a:extLst>
                  <a:ext uri="{FF2B5EF4-FFF2-40B4-BE49-F238E27FC236}">
                    <a16:creationId xmlns:a16="http://schemas.microsoft.com/office/drawing/2014/main" id="{23F45C98-8EFB-4D66-A36D-4EB5D274A5B3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03179" y="38707"/>
                <a:ext cx="18000" cy="24000"/>
              </a:xfrm>
              <a:prstGeom prst="rect">
                <a:avLst/>
              </a:prstGeom>
            </p:spPr>
          </p:pic>
        </mc:Fallback>
      </mc:AlternateContent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DC999BC-787B-467F-8CB9-EC6770A2FD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22000" y="2428800"/>
            <a:ext cx="2210400" cy="2707200"/>
          </a:xfrm>
        </p:spPr>
        <p:txBody>
          <a:bodyPr/>
          <a:lstStyle>
            <a:lvl1pPr marL="0" indent="0">
              <a:buNone/>
              <a:defRPr sz="1796">
                <a:solidFill>
                  <a:srgbClr val="00768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91CF574-9B34-4F35-85D2-8A8E0B5D88F1}"/>
              </a:ext>
            </a:extLst>
          </p:cNvPr>
          <p:cNvSpPr txBox="1"/>
          <p:nvPr userDrawn="1"/>
        </p:nvSpPr>
        <p:spPr>
          <a:xfrm>
            <a:off x="5673713" y="6497359"/>
            <a:ext cx="2404670" cy="1227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798" baseline="0">
                <a:solidFill>
                  <a:srgbClr val="959595"/>
                </a:solidFill>
                <a:cs typeface="Arial" pitchFamily="34" charset="0"/>
              </a:rPr>
              <a:t>2021</a:t>
            </a:r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798" baseline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887404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457200" y="1066800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altLang="en-US"/>
              <a:t>Click to edit slide title</a:t>
            </a:r>
            <a:endParaRPr lang="en-US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5" y="6497358"/>
            <a:ext cx="125034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6409"/>
            <a:ext cx="5394960" cy="12279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GB">
              <a:solidFill>
                <a:srgbClr val="97999B"/>
              </a:solidFill>
              <a:cs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1277347-E0BD-4939-89A0-794F0E51D5C3}"/>
              </a:ext>
            </a:extLst>
          </p:cNvPr>
          <p:cNvSpPr txBox="1"/>
          <p:nvPr userDrawn="1"/>
        </p:nvSpPr>
        <p:spPr>
          <a:xfrm>
            <a:off x="5673713" y="6497359"/>
            <a:ext cx="2404670" cy="1227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798" baseline="0">
                <a:solidFill>
                  <a:srgbClr val="959595"/>
                </a:solidFill>
                <a:cs typeface="Arial" pitchFamily="34" charset="0"/>
              </a:rPr>
              <a:t>2021</a:t>
            </a:r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798" baseline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714282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5" y="6497358"/>
            <a:ext cx="125034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6409"/>
            <a:ext cx="5394960" cy="12279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GB">
              <a:solidFill>
                <a:srgbClr val="97999B"/>
              </a:solidFill>
              <a:cs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1277347-E0BD-4939-89A0-794F0E51D5C3}"/>
              </a:ext>
            </a:extLst>
          </p:cNvPr>
          <p:cNvSpPr txBox="1"/>
          <p:nvPr userDrawn="1"/>
        </p:nvSpPr>
        <p:spPr>
          <a:xfrm>
            <a:off x="5673713" y="6497359"/>
            <a:ext cx="2404670" cy="1227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798" baseline="0">
                <a:solidFill>
                  <a:srgbClr val="959595"/>
                </a:solidFill>
                <a:cs typeface="Arial" pitchFamily="34" charset="0"/>
              </a:rPr>
              <a:t>2021</a:t>
            </a:r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798" baseline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825989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6709" y="1223424"/>
            <a:ext cx="8230092" cy="397952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96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57200" y="1066800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457214" y="6265253"/>
            <a:ext cx="8229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5" y="6497358"/>
            <a:ext cx="125034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4830"/>
            <a:ext cx="5394960" cy="12279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798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cs typeface="Arial" charset="0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9E6F39F-C2EF-4563-801B-86EE5C091A8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2" y="1678504"/>
            <a:ext cx="705668" cy="1154968"/>
          </a:xfrm>
        </p:spPr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22B57D9-F1A1-401D-9CA9-976E7BFE10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7202" y="2966085"/>
            <a:ext cx="705668" cy="92205"/>
          </a:xfrm>
        </p:spPr>
        <p:txBody>
          <a:bodyPr tIns="0" bIns="0">
            <a:spAutoFit/>
          </a:bodyPr>
          <a:lstStyle>
            <a:lvl1pPr marL="0" indent="0">
              <a:buNone/>
              <a:defRPr sz="599"/>
            </a:lvl1pPr>
            <a:lvl2pPr marL="209027" indent="0">
              <a:buNone/>
              <a:defRPr/>
            </a:lvl2pPr>
            <a:lvl3pPr marL="428741" indent="0">
              <a:buNone/>
              <a:defRPr/>
            </a:lvl3pPr>
            <a:lvl4pPr marL="638956" indent="0">
              <a:buNone/>
              <a:defRPr/>
            </a:lvl4pPr>
            <a:lvl5pPr marL="640144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396FA87C-F9FE-498B-BBC0-B6E96C2914F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800671" y="1678504"/>
            <a:ext cx="705668" cy="1154968"/>
          </a:xfrm>
        </p:spPr>
        <p:txBody>
          <a:bodyPr/>
          <a:lstStyle/>
          <a:p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C498B4D9-DF96-4B9D-8DA7-50FE858A309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00671" y="2966085"/>
            <a:ext cx="705668" cy="92205"/>
          </a:xfrm>
        </p:spPr>
        <p:txBody>
          <a:bodyPr tIns="0" bIns="0">
            <a:spAutoFit/>
          </a:bodyPr>
          <a:lstStyle>
            <a:lvl1pPr marL="0" indent="0">
              <a:buNone/>
              <a:defRPr sz="599"/>
            </a:lvl1pPr>
            <a:lvl2pPr marL="209027" indent="0">
              <a:buNone/>
              <a:defRPr/>
            </a:lvl2pPr>
            <a:lvl3pPr marL="428741" indent="0">
              <a:buNone/>
              <a:defRPr/>
            </a:lvl3pPr>
            <a:lvl4pPr marL="638956" indent="0">
              <a:buNone/>
              <a:defRPr/>
            </a:lvl4pPr>
            <a:lvl5pPr marL="640144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0D94E20C-EFE3-451A-B52A-3EDCAD9B5B0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57202" y="3221799"/>
            <a:ext cx="705668" cy="1154968"/>
          </a:xfrm>
        </p:spPr>
        <p:txBody>
          <a:bodyPr/>
          <a:lstStyle/>
          <a:p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CE638367-63E6-48BA-8FFA-AFBDE4CAC69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7202" y="4509379"/>
            <a:ext cx="705668" cy="92205"/>
          </a:xfrm>
        </p:spPr>
        <p:txBody>
          <a:bodyPr tIns="0" bIns="0">
            <a:spAutoFit/>
          </a:bodyPr>
          <a:lstStyle>
            <a:lvl1pPr marL="0" indent="0">
              <a:buNone/>
              <a:defRPr sz="599"/>
            </a:lvl1pPr>
            <a:lvl2pPr marL="209027" indent="0">
              <a:buNone/>
              <a:defRPr/>
            </a:lvl2pPr>
            <a:lvl3pPr marL="428741" indent="0">
              <a:buNone/>
              <a:defRPr/>
            </a:lvl3pPr>
            <a:lvl4pPr marL="638956" indent="0">
              <a:buNone/>
              <a:defRPr/>
            </a:lvl4pPr>
            <a:lvl5pPr marL="640144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BFB1206D-99C4-4891-B0FC-B028629FB78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800671" y="3221799"/>
            <a:ext cx="705668" cy="1154968"/>
          </a:xfrm>
        </p:spPr>
        <p:txBody>
          <a:bodyPr/>
          <a:lstStyle/>
          <a:p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7E1D37C-082F-4AB5-9E53-9296312B6F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800671" y="4509379"/>
            <a:ext cx="705668" cy="92205"/>
          </a:xfrm>
        </p:spPr>
        <p:txBody>
          <a:bodyPr tIns="0" bIns="0">
            <a:spAutoFit/>
          </a:bodyPr>
          <a:lstStyle>
            <a:lvl1pPr marL="0" indent="0">
              <a:buNone/>
              <a:defRPr sz="599"/>
            </a:lvl1pPr>
            <a:lvl2pPr marL="209027" indent="0">
              <a:buNone/>
              <a:defRPr/>
            </a:lvl2pPr>
            <a:lvl3pPr marL="428741" indent="0">
              <a:buNone/>
              <a:defRPr/>
            </a:lvl3pPr>
            <a:lvl4pPr marL="638956" indent="0">
              <a:buNone/>
              <a:defRPr/>
            </a:lvl4pPr>
            <a:lvl5pPr marL="640144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0B714431-5971-4D98-9184-F8C5C1F0E66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034489" y="3221799"/>
            <a:ext cx="705668" cy="1154968"/>
          </a:xfrm>
        </p:spPr>
        <p:txBody>
          <a:bodyPr/>
          <a:lstStyle/>
          <a:p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98FE3DBF-57C8-46E5-9975-94AB11A4E05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045860" y="4509379"/>
            <a:ext cx="705668" cy="92205"/>
          </a:xfrm>
        </p:spPr>
        <p:txBody>
          <a:bodyPr tIns="0" bIns="0">
            <a:spAutoFit/>
          </a:bodyPr>
          <a:lstStyle>
            <a:lvl1pPr marL="0" indent="0">
              <a:buNone/>
              <a:defRPr sz="599"/>
            </a:lvl1pPr>
            <a:lvl2pPr marL="209027" indent="0">
              <a:buNone/>
              <a:defRPr/>
            </a:lvl2pPr>
            <a:lvl3pPr marL="428741" indent="0">
              <a:buNone/>
              <a:defRPr/>
            </a:lvl3pPr>
            <a:lvl4pPr marL="638956" indent="0">
              <a:buNone/>
              <a:defRPr/>
            </a:lvl4pPr>
            <a:lvl5pPr marL="640144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7DE959EE-530E-46D8-97EA-86639EE6BA32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267817" y="3221799"/>
            <a:ext cx="705668" cy="1154968"/>
          </a:xfrm>
        </p:spPr>
        <p:txBody>
          <a:bodyPr/>
          <a:lstStyle/>
          <a:p>
            <a:endParaRPr lang="en-GB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A6495EC9-FC83-4103-B5BA-9A12CE9ECB5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67817" y="4509379"/>
            <a:ext cx="705668" cy="92205"/>
          </a:xfrm>
        </p:spPr>
        <p:txBody>
          <a:bodyPr tIns="0" bIns="0">
            <a:spAutoFit/>
          </a:bodyPr>
          <a:lstStyle>
            <a:lvl1pPr marL="0" indent="0">
              <a:buNone/>
              <a:defRPr sz="599"/>
            </a:lvl1pPr>
            <a:lvl2pPr marL="209027" indent="0">
              <a:buNone/>
              <a:defRPr/>
            </a:lvl2pPr>
            <a:lvl3pPr marL="428741" indent="0">
              <a:buNone/>
              <a:defRPr/>
            </a:lvl3pPr>
            <a:lvl4pPr marL="638956" indent="0">
              <a:buNone/>
              <a:defRPr/>
            </a:lvl4pPr>
            <a:lvl5pPr marL="640144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4624544F-ADCA-458E-938D-9AD98C7FC9F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57202" y="4765093"/>
            <a:ext cx="705668" cy="1154968"/>
          </a:xfrm>
        </p:spPr>
        <p:txBody>
          <a:bodyPr/>
          <a:lstStyle/>
          <a:p>
            <a:endParaRPr lang="en-GB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52D270E5-6C13-4A68-87BA-91166A6FBC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7202" y="6052673"/>
            <a:ext cx="705668" cy="92205"/>
          </a:xfrm>
        </p:spPr>
        <p:txBody>
          <a:bodyPr tIns="0" bIns="0">
            <a:spAutoFit/>
          </a:bodyPr>
          <a:lstStyle>
            <a:lvl1pPr marL="0" indent="0">
              <a:buNone/>
              <a:defRPr sz="599"/>
            </a:lvl1pPr>
            <a:lvl2pPr marL="209027" indent="0">
              <a:buNone/>
              <a:defRPr/>
            </a:lvl2pPr>
            <a:lvl3pPr marL="428741" indent="0">
              <a:buNone/>
              <a:defRPr/>
            </a:lvl3pPr>
            <a:lvl4pPr marL="638956" indent="0">
              <a:buNone/>
              <a:defRPr/>
            </a:lvl4pPr>
            <a:lvl5pPr marL="640144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8E2E8B9A-A1C1-487E-B994-4AB2FF9C8566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800671" y="4765093"/>
            <a:ext cx="705668" cy="1154968"/>
          </a:xfrm>
        </p:spPr>
        <p:txBody>
          <a:bodyPr/>
          <a:lstStyle/>
          <a:p>
            <a:endParaRPr lang="en-GB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FC721A9D-E785-440E-95DC-C43602F5718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00671" y="6052673"/>
            <a:ext cx="705668" cy="92205"/>
          </a:xfrm>
        </p:spPr>
        <p:txBody>
          <a:bodyPr tIns="0" bIns="0">
            <a:spAutoFit/>
          </a:bodyPr>
          <a:lstStyle>
            <a:lvl1pPr marL="0" indent="0">
              <a:buNone/>
              <a:defRPr sz="599"/>
            </a:lvl1pPr>
            <a:lvl2pPr marL="209027" indent="0">
              <a:buNone/>
              <a:defRPr/>
            </a:lvl2pPr>
            <a:lvl3pPr marL="428741" indent="0">
              <a:buNone/>
              <a:defRPr/>
            </a:lvl3pPr>
            <a:lvl4pPr marL="638956" indent="0">
              <a:buNone/>
              <a:defRPr/>
            </a:lvl4pPr>
            <a:lvl5pPr marL="640144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7F9E3EEF-8792-4480-9BAB-0DB5DE28602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045860" y="4765093"/>
            <a:ext cx="705668" cy="1154968"/>
          </a:xfrm>
        </p:spPr>
        <p:txBody>
          <a:bodyPr/>
          <a:lstStyle/>
          <a:p>
            <a:endParaRPr lang="en-GB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A247299B-95F3-4681-A05A-BE8E36E1F38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045367" y="6052673"/>
            <a:ext cx="705668" cy="92205"/>
          </a:xfrm>
        </p:spPr>
        <p:txBody>
          <a:bodyPr tIns="0" bIns="0">
            <a:spAutoFit/>
          </a:bodyPr>
          <a:lstStyle>
            <a:lvl1pPr marL="0" indent="0">
              <a:buNone/>
              <a:defRPr sz="599"/>
            </a:lvl1pPr>
            <a:lvl2pPr marL="209027" indent="0">
              <a:buNone/>
              <a:defRPr/>
            </a:lvl2pPr>
            <a:lvl3pPr marL="428741" indent="0">
              <a:buNone/>
              <a:defRPr/>
            </a:lvl3pPr>
            <a:lvl4pPr marL="638956" indent="0">
              <a:buNone/>
              <a:defRPr/>
            </a:lvl4pPr>
            <a:lvl5pPr marL="640144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3C253DE7-21FD-466F-806C-2BBA1CF44262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267817" y="4765093"/>
            <a:ext cx="705668" cy="1154968"/>
          </a:xfrm>
        </p:spPr>
        <p:txBody>
          <a:bodyPr/>
          <a:lstStyle/>
          <a:p>
            <a:endParaRPr lang="en-GB"/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FC273BCC-4A69-43AC-A3FD-CBF08161EA5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67817" y="6052673"/>
            <a:ext cx="705668" cy="92205"/>
          </a:xfrm>
        </p:spPr>
        <p:txBody>
          <a:bodyPr tIns="0" bIns="0">
            <a:spAutoFit/>
          </a:bodyPr>
          <a:lstStyle>
            <a:lvl1pPr marL="0" indent="0">
              <a:buNone/>
              <a:defRPr sz="599"/>
            </a:lvl1pPr>
            <a:lvl2pPr marL="209027" indent="0">
              <a:buNone/>
              <a:defRPr/>
            </a:lvl2pPr>
            <a:lvl3pPr marL="428741" indent="0">
              <a:buNone/>
              <a:defRPr/>
            </a:lvl3pPr>
            <a:lvl4pPr marL="638956" indent="0">
              <a:buNone/>
              <a:defRPr/>
            </a:lvl4pPr>
            <a:lvl5pPr marL="640144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3CA25341-97BF-4F4E-AA97-4E3EA551C588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6900" y="4759565"/>
            <a:ext cx="705668" cy="1135975"/>
          </a:xfrm>
        </p:spPr>
        <p:txBody>
          <a:bodyPr/>
          <a:lstStyle/>
          <a:p>
            <a:endParaRPr lang="en-GB"/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0594A4CD-84D1-45F1-B2BB-4132E4059A9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36900" y="6052673"/>
            <a:ext cx="705668" cy="92205"/>
          </a:xfrm>
        </p:spPr>
        <p:txBody>
          <a:bodyPr tIns="0" bIns="0">
            <a:spAutoFit/>
          </a:bodyPr>
          <a:lstStyle>
            <a:lvl1pPr marL="0" indent="0">
              <a:buNone/>
              <a:defRPr sz="599"/>
            </a:lvl1pPr>
            <a:lvl2pPr marL="209027" indent="0">
              <a:buNone/>
              <a:defRPr/>
            </a:lvl2pPr>
            <a:lvl3pPr marL="428741" indent="0">
              <a:buNone/>
              <a:defRPr/>
            </a:lvl3pPr>
            <a:lvl4pPr marL="638956" indent="0">
              <a:buNone/>
              <a:defRPr/>
            </a:lvl4pPr>
            <a:lvl5pPr marL="640144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F2954F2-261F-4DA0-A843-6BE71804B1DC}"/>
              </a:ext>
            </a:extLst>
          </p:cNvPr>
          <p:cNvSpPr txBox="1"/>
          <p:nvPr userDrawn="1"/>
        </p:nvSpPr>
        <p:spPr>
          <a:xfrm>
            <a:off x="5673713" y="6497359"/>
            <a:ext cx="2404670" cy="1227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798" baseline="0">
                <a:solidFill>
                  <a:srgbClr val="959595"/>
                </a:solidFill>
                <a:cs typeface="Arial" pitchFamily="34" charset="0"/>
              </a:rPr>
              <a:t>2021</a:t>
            </a:r>
            <a:r>
              <a:rPr lang="en-US" altLang="en-US" sz="798" baseline="0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798" baseline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825332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457200" y="1066800"/>
            <a:ext cx="8229600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5F86"/>
                </a:solidFill>
              </a:defRPr>
            </a:lvl1pPr>
          </a:lstStyle>
          <a:p>
            <a:r>
              <a:rPr lang="en-US" altLang="en-US"/>
              <a:t>Click to edit slide title</a:t>
            </a:r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F8222A0-B1AD-4F88-8F8E-7F8B8F73F889}"/>
              </a:ext>
            </a:extLst>
          </p:cNvPr>
          <p:cNvGrpSpPr/>
          <p:nvPr userDrawn="1"/>
        </p:nvGrpSpPr>
        <p:grpSpPr>
          <a:xfrm>
            <a:off x="2161409" y="287888"/>
            <a:ext cx="4821183" cy="5725321"/>
            <a:chOff x="2123553" y="178389"/>
            <a:chExt cx="4821183" cy="429399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5162175-61B8-4B4E-9FEC-65E43A96C419}"/>
                </a:ext>
              </a:extLst>
            </p:cNvPr>
            <p:cNvSpPr txBox="1"/>
            <p:nvPr userDrawn="1"/>
          </p:nvSpPr>
          <p:spPr>
            <a:xfrm>
              <a:off x="4459713" y="1524890"/>
              <a:ext cx="2485023" cy="29474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4938" b="1">
                  <a:solidFill>
                    <a:srgbClr val="279989"/>
                  </a:solidFill>
                  <a:latin typeface="+mj-lt"/>
                </a:rPr>
                <a:t>A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EF3975D-187D-4B5D-BD91-B51666D374FE}"/>
                </a:ext>
              </a:extLst>
            </p:cNvPr>
            <p:cNvSpPr txBox="1"/>
            <p:nvPr userDrawn="1"/>
          </p:nvSpPr>
          <p:spPr>
            <a:xfrm>
              <a:off x="3393529" y="178389"/>
              <a:ext cx="2485023" cy="29474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4938" b="1">
                  <a:solidFill>
                    <a:srgbClr val="007681"/>
                  </a:solidFill>
                  <a:latin typeface="+mj-lt"/>
                </a:rPr>
                <a:t>&amp;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BF7530B-843D-47B0-9BE3-93390E4D3784}"/>
                </a:ext>
              </a:extLst>
            </p:cNvPr>
            <p:cNvSpPr txBox="1"/>
            <p:nvPr userDrawn="1"/>
          </p:nvSpPr>
          <p:spPr>
            <a:xfrm>
              <a:off x="2123553" y="901749"/>
              <a:ext cx="2485023" cy="29474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4938" b="1">
                  <a:solidFill>
                    <a:srgbClr val="005F86"/>
                  </a:solidFill>
                  <a:latin typeface="+mj-lt"/>
                </a:rPr>
                <a:t>Q</a:t>
              </a:r>
            </a:p>
          </p:txBody>
        </p:sp>
      </p:grp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81D9E97B-6E4D-42F9-A01C-76F82B2E8B0C}"/>
              </a:ext>
            </a:extLst>
          </p:cNvPr>
          <p:cNvSpPr txBox="1">
            <a:spLocks/>
          </p:cNvSpPr>
          <p:nvPr userDrawn="1"/>
        </p:nvSpPr>
        <p:spPr>
          <a:xfrm>
            <a:off x="8551922" y="6481589"/>
            <a:ext cx="125035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 defTabSz="912116"/>
            <a:fld id="{746372F0-8F5B-47E8-9A0C-8905EFF44332}" type="slidenum">
              <a:rPr lang="en-US" sz="798">
                <a:solidFill>
                  <a:srgbClr val="000000">
                    <a:tint val="75000"/>
                  </a:srgbClr>
                </a:solidFill>
              </a:rPr>
              <a:pPr defTabSz="912116"/>
              <a:t>‹#›</a:t>
            </a:fld>
            <a:endParaRPr lang="en-US" sz="798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96468F4-70C1-42FC-9E76-E5298A495D79}"/>
              </a:ext>
            </a:extLst>
          </p:cNvPr>
          <p:cNvSpPr txBox="1"/>
          <p:nvPr userDrawn="1"/>
        </p:nvSpPr>
        <p:spPr>
          <a:xfrm>
            <a:off x="5670988" y="6481589"/>
            <a:ext cx="2398721" cy="1227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defTabSz="912116" eaLnBrk="1" hangingPunct="1"/>
            <a:r>
              <a:rPr lang="en-US" altLang="en-US" sz="798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798">
                <a:solidFill>
                  <a:srgbClr val="959595"/>
                </a:solidFill>
                <a:cs typeface="Arial" pitchFamily="34" charset="0"/>
              </a:rPr>
              <a:t>2021</a:t>
            </a:r>
            <a:r>
              <a:rPr lang="en-US" altLang="en-US" sz="798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798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875064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er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75326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44539" y="502927"/>
            <a:ext cx="7658102" cy="1154927"/>
          </a:xfrm>
        </p:spPr>
        <p:txBody>
          <a:bodyPr/>
          <a:lstStyle>
            <a:lvl1pPr>
              <a:lnSpc>
                <a:spcPts val="2993"/>
              </a:lnSpc>
              <a:defRPr sz="2693">
                <a:solidFill>
                  <a:srgbClr val="005C8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6048" y="6353417"/>
            <a:ext cx="325730" cy="230512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898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51371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neutr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 userDrawn="1"/>
        </p:nvSpPr>
        <p:spPr>
          <a:xfrm>
            <a:off x="2775157" y="6511174"/>
            <a:ext cx="3529012" cy="143629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700" baseline="30000" dirty="0">
                <a:solidFill>
                  <a:srgbClr val="959595"/>
                </a:solidFill>
              </a:rPr>
              <a:t>CONFIDENTIAL. This document contains Cargill Confidential information. Disclosure, use or reproduction outside Cargill or inside Cargill, to or by those who do not have a need to know is prohibited. © </a:t>
            </a:r>
            <a:r>
              <a:rPr lang="is-IS" altLang="en-US" sz="700" baseline="30000" dirty="0">
                <a:solidFill>
                  <a:srgbClr val="959595"/>
                </a:solidFill>
              </a:rPr>
              <a:t>2022</a:t>
            </a:r>
            <a:r>
              <a:rPr lang="en-US" altLang="en-US" sz="700" baseline="30000" dirty="0">
                <a:solidFill>
                  <a:srgbClr val="959595"/>
                </a:solidFill>
              </a:rPr>
              <a:t> Cargill, Incorporated. All rights reserved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8FED626-DB5B-42B2-BB7E-71025455B86F}"/>
              </a:ext>
            </a:extLst>
          </p:cNvPr>
          <p:cNvSpPr/>
          <p:nvPr userDrawn="1"/>
        </p:nvSpPr>
        <p:spPr>
          <a:xfrm>
            <a:off x="0" y="4838699"/>
            <a:ext cx="9144000" cy="1155347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2B20C61-46D5-4207-87F3-B5150478EC63}"/>
              </a:ext>
            </a:extLst>
          </p:cNvPr>
          <p:cNvSpPr/>
          <p:nvPr userDrawn="1"/>
        </p:nvSpPr>
        <p:spPr>
          <a:xfrm>
            <a:off x="0" y="-1"/>
            <a:ext cx="9144000" cy="483870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9E708CAB-31D1-4D2F-B575-B682B2C9FB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-1"/>
            <a:ext cx="4495510" cy="4838700"/>
          </a:xfrm>
          <a:noFill/>
        </p:spPr>
        <p:txBody>
          <a:bodyPr lIns="324000" anchor="ctr" anchorCtr="0"/>
          <a:lstStyle>
            <a:lvl1pPr marL="0" indent="0">
              <a:spcBef>
                <a:spcPts val="0"/>
              </a:spcBef>
              <a:buNone/>
              <a:defRPr sz="6500" spc="-1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687750CA-285F-44A6-BA35-EB2DE4C549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" y="5001684"/>
            <a:ext cx="5319512" cy="829733"/>
          </a:xfrm>
        </p:spPr>
        <p:txBody>
          <a:bodyPr lIns="324000"/>
          <a:lstStyle>
            <a:lvl1pPr marL="0" indent="0">
              <a:buNone/>
              <a:defRPr sz="1600"/>
            </a:lvl1pPr>
            <a:lvl2pPr marL="209550" indent="0">
              <a:buNone/>
              <a:defRPr/>
            </a:lvl2pPr>
            <a:lvl3pPr marL="429815" indent="0">
              <a:buNone/>
              <a:defRPr/>
            </a:lvl3pPr>
            <a:lvl4pPr marL="640556" indent="0">
              <a:buNone/>
              <a:defRPr/>
            </a:lvl4pPr>
            <a:lvl5pPr marL="641747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DB3175-544D-4F1D-A6C5-B7D7FCF67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998" y="6164378"/>
            <a:ext cx="1564640" cy="491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36525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1309064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256">
          <p15:clr>
            <a:srgbClr val="CCCCCC"/>
          </p15:clr>
        </p15:guide>
        <p15:guide id="2" pos="1553">
          <p15:clr>
            <a:srgbClr val="CCCCCC"/>
          </p15:clr>
        </p15:guide>
        <p15:guide id="3" pos="1937">
          <p15:clr>
            <a:srgbClr val="CCCCCC"/>
          </p15:clr>
        </p15:guide>
        <p15:guide id="4" pos="3235">
          <p15:clr>
            <a:srgbClr val="CCCCCC"/>
          </p15:clr>
        </p15:guide>
        <p15:guide id="5" pos="3619">
          <p15:clr>
            <a:srgbClr val="CCCCCC"/>
          </p15:clr>
        </p15:guide>
        <p15:guide id="6" pos="4916">
          <p15:clr>
            <a:srgbClr val="CCCCCC"/>
          </p15:clr>
        </p15:guide>
        <p15:guide id="7" pos="5300">
          <p15:clr>
            <a:srgbClr val="CCCCCC"/>
          </p15:clr>
        </p15:guide>
        <p15:guide id="8" pos="6599">
          <p15:clr>
            <a:srgbClr val="CCCCCC"/>
          </p15:clr>
        </p15:guide>
        <p15:guide id="9" pos="6983">
          <p15:clr>
            <a:srgbClr val="CCCCCC"/>
          </p15:clr>
        </p15:guide>
        <p15:guide id="10" pos="8280">
          <p15:clr>
            <a:srgbClr val="CCCCCC"/>
          </p15:clr>
        </p15:guide>
        <p15:guide id="11" pos="8664">
          <p15:clr>
            <a:srgbClr val="CCCCCC"/>
          </p15:clr>
        </p15:guide>
        <p15:guide id="12" pos="9961">
          <p15:clr>
            <a:srgbClr val="CCCCCC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Large_Yellow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 Diagonal Corner Rectangle 2"/>
          <p:cNvSpPr/>
          <p:nvPr userDrawn="1"/>
        </p:nvSpPr>
        <p:spPr>
          <a:xfrm>
            <a:off x="230188" y="228609"/>
            <a:ext cx="8686800" cy="5711825"/>
          </a:xfrm>
          <a:prstGeom prst="round2DiagRect">
            <a:avLst>
              <a:gd name="adj1" fmla="val 0"/>
              <a:gd name="adj2" fmla="val 3917"/>
            </a:avLst>
          </a:prstGeom>
          <a:solidFill>
            <a:srgbClr val="007B8A"/>
          </a:solidFill>
          <a:ln>
            <a:solidFill>
              <a:srgbClr val="007B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78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40664" y="1847088"/>
            <a:ext cx="7424928" cy="2340864"/>
          </a:xfrm>
        </p:spPr>
        <p:txBody>
          <a:bodyPr/>
          <a:lstStyle>
            <a:lvl1pPr>
              <a:lnSpc>
                <a:spcPts val="4701"/>
              </a:lnSpc>
              <a:defRPr sz="447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0EF13CF-3135-458E-B49D-F3246666B4C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6032441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Bulle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44541" y="502929"/>
            <a:ext cx="7567612" cy="1154927"/>
          </a:xfrm>
        </p:spPr>
        <p:txBody>
          <a:bodyPr/>
          <a:lstStyle>
            <a:lvl1pPr>
              <a:lnSpc>
                <a:spcPts val="2986"/>
              </a:lnSpc>
              <a:defRPr sz="2687">
                <a:solidFill>
                  <a:srgbClr val="51913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40663" y="1945300"/>
            <a:ext cx="7571488" cy="397952"/>
          </a:xfrm>
        </p:spPr>
        <p:txBody>
          <a:bodyPr/>
          <a:lstStyle>
            <a:lvl1pPr marL="0" indent="0">
              <a:lnSpc>
                <a:spcPts val="1568"/>
              </a:lnSpc>
              <a:spcBef>
                <a:spcPts val="0"/>
              </a:spcBef>
              <a:buFontTx/>
              <a:buNone/>
              <a:defRPr b="1" cap="all" baseline="0">
                <a:solidFill>
                  <a:srgbClr val="27998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44541" y="2347639"/>
            <a:ext cx="7567612" cy="3592789"/>
          </a:xfrm>
        </p:spPr>
        <p:txBody>
          <a:bodyPr>
            <a:noAutofit/>
          </a:bodyPr>
          <a:lstStyle>
            <a:lvl1pPr marL="129652" indent="-129652">
              <a:lnSpc>
                <a:spcPts val="1417"/>
              </a:lnSpc>
              <a:spcBef>
                <a:spcPts val="0"/>
              </a:spcBef>
              <a:spcAft>
                <a:spcPts val="673"/>
              </a:spcAft>
              <a:buFont typeface="Arial" pitchFamily="34" charset="0"/>
              <a:buChar char="•"/>
              <a:defRPr sz="1046" b="0">
                <a:solidFill>
                  <a:schemeClr val="tx1"/>
                </a:solidFill>
              </a:defRPr>
            </a:lvl1pPr>
            <a:lvl2pPr marL="340005" indent="-126761">
              <a:lnSpc>
                <a:spcPts val="1417"/>
              </a:lnSpc>
              <a:spcBef>
                <a:spcPts val="0"/>
              </a:spcBef>
              <a:spcAft>
                <a:spcPts val="673"/>
              </a:spcAft>
              <a:buFont typeface="Arial" pitchFamily="34" charset="0"/>
              <a:buChar char="•"/>
              <a:defRPr sz="1046" b="0">
                <a:solidFill>
                  <a:schemeClr val="tx1"/>
                </a:solidFill>
              </a:defRPr>
            </a:lvl2pPr>
            <a:lvl3pPr marL="549692" indent="-129131">
              <a:lnSpc>
                <a:spcPts val="1417"/>
              </a:lnSpc>
              <a:spcBef>
                <a:spcPts val="0"/>
              </a:spcBef>
              <a:spcAft>
                <a:spcPts val="673"/>
              </a:spcAft>
              <a:buFont typeface="Arial" pitchFamily="34" charset="0"/>
              <a:buChar char="•"/>
              <a:defRPr sz="1046" b="0">
                <a:solidFill>
                  <a:schemeClr val="tx1"/>
                </a:solidFill>
              </a:defRPr>
            </a:lvl3pPr>
            <a:lvl4pPr marL="762936" indent="-129131">
              <a:lnSpc>
                <a:spcPts val="1417"/>
              </a:lnSpc>
              <a:spcBef>
                <a:spcPts val="0"/>
              </a:spcBef>
              <a:spcAft>
                <a:spcPts val="673"/>
              </a:spcAft>
              <a:buFont typeface="Arial" pitchFamily="34" charset="0"/>
              <a:buChar char="•"/>
              <a:defRPr sz="1046" b="0">
                <a:solidFill>
                  <a:schemeClr val="tx1"/>
                </a:solidFill>
              </a:defRPr>
            </a:lvl4pPr>
            <a:lvl5pPr marL="985656" indent="-129131">
              <a:lnSpc>
                <a:spcPts val="1417"/>
              </a:lnSpc>
              <a:spcBef>
                <a:spcPts val="0"/>
              </a:spcBef>
              <a:spcAft>
                <a:spcPts val="673"/>
              </a:spcAft>
              <a:buFont typeface="Arial" pitchFamily="34" charset="0"/>
              <a:buChar char="•"/>
              <a:defRPr sz="1046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212D3AE2-B1AB-49BC-A062-772C9C26902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4782728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w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9BCBEF6-2EB4-4274-91FD-7EAB1359F2B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5391345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1" y="295689"/>
            <a:ext cx="8412480" cy="28173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6048" y="6353579"/>
            <a:ext cx="325730" cy="230191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896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165668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1" y="78263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1122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1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6124126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434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3" y="3602041"/>
            <a:ext cx="6858000" cy="1655763"/>
          </a:xfrm>
        </p:spPr>
        <p:txBody>
          <a:bodyPr/>
          <a:lstStyle>
            <a:lvl1pPr marL="0" indent="0" algn="ctr">
              <a:buNone/>
              <a:defRPr sz="1738"/>
            </a:lvl1pPr>
            <a:lvl2pPr marL="331171" indent="0" algn="ctr">
              <a:buNone/>
              <a:defRPr sz="1448"/>
            </a:lvl2pPr>
            <a:lvl3pPr marL="662343" indent="0" algn="ctr">
              <a:buNone/>
              <a:defRPr sz="1305"/>
            </a:lvl3pPr>
            <a:lvl4pPr marL="993513" indent="0" algn="ctr">
              <a:buNone/>
              <a:defRPr sz="1159"/>
            </a:lvl4pPr>
            <a:lvl5pPr marL="1324684" indent="0" algn="ctr">
              <a:buNone/>
              <a:defRPr sz="1159"/>
            </a:lvl5pPr>
            <a:lvl6pPr marL="1655856" indent="0" algn="ctr">
              <a:buNone/>
              <a:defRPr sz="1159"/>
            </a:lvl6pPr>
            <a:lvl7pPr marL="1987026" indent="0" algn="ctr">
              <a:buNone/>
              <a:defRPr sz="1159"/>
            </a:lvl7pPr>
            <a:lvl8pPr marL="2318198" indent="0" algn="ctr">
              <a:buNone/>
              <a:defRPr sz="1159"/>
            </a:lvl8pPr>
            <a:lvl9pPr marL="2649369" indent="0" algn="ctr">
              <a:buNone/>
              <a:defRPr sz="115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12E41-8408-4984-83CD-12D66AD6123A}" type="datetimeFigureOut">
              <a:rPr lang="en-US" smtClean="0"/>
              <a:t>10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A237A-36BC-422F-888B-7CBBC301B8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753270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44541" y="502927"/>
            <a:ext cx="7567612" cy="1154927"/>
          </a:xfrm>
        </p:spPr>
        <p:txBody>
          <a:bodyPr/>
          <a:lstStyle>
            <a:lvl1pPr>
              <a:lnSpc>
                <a:spcPts val="2993"/>
              </a:lnSpc>
              <a:defRPr sz="2693">
                <a:solidFill>
                  <a:srgbClr val="51913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40664" y="1839320"/>
            <a:ext cx="7571488" cy="397952"/>
          </a:xfrm>
        </p:spPr>
        <p:txBody>
          <a:bodyPr>
            <a:noAutofit/>
          </a:bodyPr>
          <a:lstStyle>
            <a:lvl1pPr marL="0" indent="0">
              <a:lnSpc>
                <a:spcPts val="1347"/>
              </a:lnSpc>
              <a:spcBef>
                <a:spcPts val="0"/>
              </a:spcBef>
              <a:buFontTx/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08032316-F04B-4B8B-8EAC-41B1E0B125E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988202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Bulle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C8148F99-8096-4B9D-8620-FBB7ABF1AF86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744540" y="502921"/>
            <a:ext cx="7567612" cy="907136"/>
          </a:xfrm>
        </p:spPr>
        <p:txBody>
          <a:bodyPr/>
          <a:lstStyle>
            <a:lvl1pPr>
              <a:lnSpc>
                <a:spcPts val="2993"/>
              </a:lnSpc>
              <a:defRPr sz="1796">
                <a:solidFill>
                  <a:srgbClr val="005F86"/>
                </a:solidFill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744540" y="1563883"/>
            <a:ext cx="7567612" cy="4231263"/>
          </a:xfrm>
        </p:spPr>
        <p:txBody>
          <a:bodyPr lIns="91440" rIns="91440">
            <a:noAutofit/>
          </a:bodyPr>
          <a:lstStyle>
            <a:lvl1pPr marL="129977" indent="-129977">
              <a:lnSpc>
                <a:spcPts val="1421"/>
              </a:lnSpc>
              <a:spcBef>
                <a:spcPts val="0"/>
              </a:spcBef>
              <a:spcAft>
                <a:spcPts val="674"/>
              </a:spcAft>
              <a:buFont typeface="Arial" pitchFamily="34" charset="0"/>
              <a:buChar char="•"/>
              <a:defRPr sz="1197" b="0">
                <a:solidFill>
                  <a:schemeClr val="tx1"/>
                </a:solidFill>
              </a:defRPr>
            </a:lvl1pPr>
            <a:lvl2pPr marL="340857" indent="-127078">
              <a:lnSpc>
                <a:spcPts val="1421"/>
              </a:lnSpc>
              <a:spcBef>
                <a:spcPts val="0"/>
              </a:spcBef>
              <a:spcAft>
                <a:spcPts val="674"/>
              </a:spcAft>
              <a:buFont typeface="Courier New" panose="02070309020205020404" pitchFamily="49" charset="0"/>
              <a:buChar char="o"/>
              <a:defRPr sz="1048" b="0">
                <a:solidFill>
                  <a:schemeClr val="tx1"/>
                </a:solidFill>
              </a:defRPr>
            </a:lvl2pPr>
            <a:lvl3pPr marL="551071" indent="-129454">
              <a:lnSpc>
                <a:spcPts val="1421"/>
              </a:lnSpc>
              <a:spcBef>
                <a:spcPts val="0"/>
              </a:spcBef>
              <a:spcAft>
                <a:spcPts val="674"/>
              </a:spcAft>
              <a:buFont typeface="Wingdings" panose="05000000000000000000" pitchFamily="2" charset="2"/>
              <a:buChar char="§"/>
              <a:defRPr sz="898" b="0">
                <a:solidFill>
                  <a:schemeClr val="tx1"/>
                </a:solidFill>
              </a:defRPr>
            </a:lvl3pPr>
            <a:lvl4pPr marL="764848" indent="-129454">
              <a:lnSpc>
                <a:spcPts val="1421"/>
              </a:lnSpc>
              <a:spcBef>
                <a:spcPts val="0"/>
              </a:spcBef>
              <a:spcAft>
                <a:spcPts val="674"/>
              </a:spcAft>
              <a:buFont typeface="Arial" pitchFamily="34" charset="0"/>
              <a:buChar char="•"/>
              <a:defRPr sz="1048" b="0">
                <a:solidFill>
                  <a:schemeClr val="tx1"/>
                </a:solidFill>
              </a:defRPr>
            </a:lvl4pPr>
            <a:lvl5pPr marL="988125" indent="-129454">
              <a:lnSpc>
                <a:spcPts val="1421"/>
              </a:lnSpc>
              <a:spcBef>
                <a:spcPts val="0"/>
              </a:spcBef>
              <a:spcAft>
                <a:spcPts val="674"/>
              </a:spcAft>
              <a:buFont typeface="Arial" pitchFamily="34" charset="0"/>
              <a:buChar char="•"/>
              <a:defRPr sz="1048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8527017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Title_Subhead_Bulle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6709" y="1223424"/>
            <a:ext cx="8230092" cy="39795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5" y="6534180"/>
            <a:ext cx="125034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0851" y="6534179"/>
            <a:ext cx="5394960" cy="12279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7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97999B"/>
                </a:solidFill>
                <a:cs typeface="Arial" charset="0"/>
              </a:rPr>
              <a:t>Leading with Agile Mindset</a:t>
            </a:r>
            <a:endParaRPr lang="en-US">
              <a:solidFill>
                <a:srgbClr val="FF0000"/>
              </a:solidFill>
              <a:cs typeface="Arial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0850" y="1682633"/>
            <a:ext cx="8235950" cy="4257795"/>
          </a:xfrm>
        </p:spPr>
        <p:txBody>
          <a:bodyPr/>
          <a:lstStyle>
            <a:lvl1pPr>
              <a:defRPr sz="1347"/>
            </a:lvl1pPr>
            <a:lvl2pPr>
              <a:defRPr sz="1197"/>
            </a:lvl2pPr>
            <a:lvl4pPr>
              <a:defRPr sz="1048"/>
            </a:lvl4pPr>
            <a:lvl5pPr marL="640128" indent="0">
              <a:buNone/>
              <a:defRPr sz="104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388022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slideLayout" Target="../slideLayouts/slideLayout60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slideLayout" Target="../slideLayouts/slideLayout5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86.xml"/><Relationship Id="rId39" Type="http://schemas.openxmlformats.org/officeDocument/2006/relationships/slideLayout" Target="../slideLayouts/slideLayout99.xml"/><Relationship Id="rId3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81.xml"/><Relationship Id="rId34" Type="http://schemas.openxmlformats.org/officeDocument/2006/relationships/slideLayout" Target="../slideLayouts/slideLayout94.xml"/><Relationship Id="rId42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slideLayout" Target="../slideLayouts/slideLayout85.xml"/><Relationship Id="rId33" Type="http://schemas.openxmlformats.org/officeDocument/2006/relationships/slideLayout" Target="../slideLayouts/slideLayout93.xml"/><Relationship Id="rId38" Type="http://schemas.openxmlformats.org/officeDocument/2006/relationships/slideLayout" Target="../slideLayouts/slideLayout98.xml"/><Relationship Id="rId46" Type="http://schemas.openxmlformats.org/officeDocument/2006/relationships/theme" Target="../theme/theme3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slideLayout" Target="../slideLayouts/slideLayout80.xml"/><Relationship Id="rId29" Type="http://schemas.openxmlformats.org/officeDocument/2006/relationships/slideLayout" Target="../slideLayouts/slideLayout89.xml"/><Relationship Id="rId41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84.xml"/><Relationship Id="rId32" Type="http://schemas.openxmlformats.org/officeDocument/2006/relationships/slideLayout" Target="../slideLayouts/slideLayout92.xml"/><Relationship Id="rId37" Type="http://schemas.openxmlformats.org/officeDocument/2006/relationships/slideLayout" Target="../slideLayouts/slideLayout97.xml"/><Relationship Id="rId40" Type="http://schemas.openxmlformats.org/officeDocument/2006/relationships/slideLayout" Target="../slideLayouts/slideLayout100.xml"/><Relationship Id="rId45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slideLayout" Target="../slideLayouts/slideLayout88.xml"/><Relationship Id="rId36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31" Type="http://schemas.openxmlformats.org/officeDocument/2006/relationships/slideLayout" Target="../slideLayouts/slideLayout91.xml"/><Relationship Id="rId44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slideLayout" Target="../slideLayouts/slideLayout87.xml"/><Relationship Id="rId30" Type="http://schemas.openxmlformats.org/officeDocument/2006/relationships/slideLayout" Target="../slideLayouts/slideLayout90.xml"/><Relationship Id="rId35" Type="http://schemas.openxmlformats.org/officeDocument/2006/relationships/slideLayout" Target="../slideLayouts/slideLayout95.xml"/><Relationship Id="rId43" Type="http://schemas.openxmlformats.org/officeDocument/2006/relationships/slideLayout" Target="../slideLayouts/slideLayout10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26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5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125.xml"/><Relationship Id="rId29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8.xml"/><Relationship Id="rId28" Type="http://schemas.openxmlformats.org/officeDocument/2006/relationships/slideLayout" Target="../slideLayouts/slideLayout133.xml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31" Type="http://schemas.openxmlformats.org/officeDocument/2006/relationships/image" Target="../media/image18.png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Relationship Id="rId27" Type="http://schemas.openxmlformats.org/officeDocument/2006/relationships/slideLayout" Target="../slideLayouts/slideLayout132.xml"/><Relationship Id="rId30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536" y="116913"/>
            <a:ext cx="8229600" cy="69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slide title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538" y="918000"/>
            <a:ext cx="8229600" cy="54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2" y="649800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8000"/>
            <a:ext cx="536272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97999B"/>
                </a:solidFill>
                <a:cs typeface="Arial" charset="0"/>
              </a:rPr>
              <a:t>Footer</a:t>
            </a:r>
            <a:endParaRPr lang="en-US" dirty="0">
              <a:solidFill>
                <a:srgbClr val="FF0000"/>
              </a:solidFill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3" r:id="rId2"/>
    <p:sldLayoutId id="2147484092" r:id="rId3"/>
    <p:sldLayoutId id="2147484093" r:id="rId4"/>
    <p:sldLayoutId id="2147484036" r:id="rId5"/>
    <p:sldLayoutId id="2147484037" r:id="rId6"/>
    <p:sldLayoutId id="2147483886" r:id="rId7"/>
    <p:sldLayoutId id="2147483887" r:id="rId8"/>
    <p:sldLayoutId id="2147484094" r:id="rId9"/>
    <p:sldLayoutId id="2147484095" r:id="rId10"/>
    <p:sldLayoutId id="2147483904" r:id="rId11"/>
    <p:sldLayoutId id="2147483889" r:id="rId12"/>
    <p:sldLayoutId id="2147483890" r:id="rId13"/>
    <p:sldLayoutId id="2147484096" r:id="rId14"/>
    <p:sldLayoutId id="2147484097" r:id="rId15"/>
    <p:sldLayoutId id="2147484098" r:id="rId16"/>
    <p:sldLayoutId id="2147484099" r:id="rId17"/>
    <p:sldLayoutId id="2147484100" r:id="rId18"/>
    <p:sldLayoutId id="2147484101" r:id="rId19"/>
    <p:sldLayoutId id="2147484102" r:id="rId20"/>
    <p:sldLayoutId id="2147483875" r:id="rId21"/>
    <p:sldLayoutId id="2147484103" r:id="rId22"/>
    <p:sldLayoutId id="2147484104" r:id="rId23"/>
    <p:sldLayoutId id="2147484109" r:id="rId24"/>
    <p:sldLayoutId id="2147483908" r:id="rId25"/>
    <p:sldLayoutId id="2147484111" r:id="rId26"/>
    <p:sldLayoutId id="2147484107" r:id="rId27"/>
    <p:sldLayoutId id="2147484110" r:id="rId28"/>
    <p:sldLayoutId id="2147484023" r:id="rId29"/>
  </p:sldLayoutIdLst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800" b="0" kern="1200">
          <a:solidFill>
            <a:schemeClr val="accent1"/>
          </a:solidFill>
          <a:latin typeface="Arial"/>
          <a:ea typeface="ＭＳ Ｐゴシック" charset="0"/>
          <a:cs typeface="Arial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5F86"/>
          </a:solidFill>
          <a:latin typeface="Arial" charset="0"/>
          <a:ea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5F86"/>
          </a:solidFill>
          <a:latin typeface="Arial" charset="0"/>
          <a:ea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5F86"/>
          </a:solidFill>
          <a:latin typeface="Arial" charset="0"/>
          <a:ea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5F86"/>
          </a:solidFill>
          <a:latin typeface="Arial" charset="0"/>
          <a:ea typeface="ＭＳ Ｐゴシック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9E2A2F"/>
          </a:solidFill>
          <a:latin typeface="Arial" charset="0"/>
          <a:ea typeface="ＭＳ Ｐゴシック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9E2A2F"/>
          </a:solidFill>
          <a:latin typeface="Arial" charset="0"/>
          <a:ea typeface="ＭＳ Ｐゴシック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9E2A2F"/>
          </a:solidFill>
          <a:latin typeface="Arial" charset="0"/>
          <a:ea typeface="ＭＳ Ｐゴシック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9E2A2F"/>
          </a:solidFill>
          <a:latin typeface="Arial" charset="0"/>
          <a:ea typeface="ＭＳ Ｐゴシック" charset="0"/>
        </a:defRPr>
      </a:lvl9pPr>
    </p:titleStyle>
    <p:bodyStyle>
      <a:lvl1pPr marL="231775" marR="0" indent="-231775" algn="l" defTabSz="914400" rtl="0" eaLnBrk="1" fontAlgn="base" latinLnBrk="0" hangingPunct="1">
        <a:lnSpc>
          <a:spcPct val="100000"/>
        </a:lnSpc>
        <a:spcBef>
          <a:spcPts val="600"/>
        </a:spcBef>
        <a:spcAft>
          <a:spcPts val="0"/>
        </a:spcAft>
        <a:buClr>
          <a:prstClr val="black"/>
        </a:buClr>
        <a:buSzTx/>
        <a:buFont typeface="Arial"/>
        <a:buChar char="•"/>
        <a:tabLst/>
        <a:defRPr lang="en-US" altLang="en-US" sz="1350" b="0" kern="1200" dirty="0" smtClean="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marL="509588" marR="0" indent="-230188" algn="l" defTabSz="914400" rtl="0" eaLnBrk="1" fontAlgn="base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Lucida Grande"/>
        <a:buChar char="–"/>
        <a:tabLst/>
        <a:defRPr lang="en-US" altLang="en-US" sz="1200" b="0" kern="1200" dirty="0" smtClean="0">
          <a:solidFill>
            <a:schemeClr val="tx1"/>
          </a:solidFill>
          <a:latin typeface="Arial"/>
          <a:ea typeface="ＭＳ Ｐゴシック" charset="0"/>
          <a:cs typeface="Arial"/>
        </a:defRPr>
      </a:lvl2pPr>
      <a:lvl3pPr marL="800100" marR="0" indent="-227013" algn="l" defTabSz="914400" rtl="0" eaLnBrk="1" fontAlgn="base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anose="020B0604020202020204" pitchFamily="34" charset="0"/>
        <a:buChar char="­"/>
        <a:tabLst/>
        <a:defRPr lang="en-US" altLang="en-US" sz="1200" b="0" kern="1200" dirty="0" smtClean="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084263" marR="0" indent="-230188" algn="l" defTabSz="914400" rtl="0" eaLnBrk="1" fontAlgn="base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US" altLang="en-US" sz="1200" b="0" kern="1200" dirty="0" smtClean="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030288" indent="-174625" algn="l" rtl="0" eaLnBrk="1" fontAlgn="base" hangingPunct="1">
        <a:spcBef>
          <a:spcPts val="600"/>
        </a:spcBef>
        <a:spcAft>
          <a:spcPct val="0"/>
        </a:spcAft>
        <a:buFont typeface="Arial"/>
        <a:buChar char="•"/>
        <a:defRPr lang="en-US" altLang="en-US" sz="1600" b="0" kern="1200" dirty="0" smtClean="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536" y="116913"/>
            <a:ext cx="8229600" cy="69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slide title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538" y="918000"/>
            <a:ext cx="8229600" cy="54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2" y="649800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8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8000"/>
            <a:ext cx="536272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97999B"/>
                </a:solidFill>
                <a:cs typeface="Arial" charset="0"/>
              </a:rPr>
              <a:t>Footer</a:t>
            </a:r>
            <a:endParaRPr lang="en-US" dirty="0">
              <a:solidFill>
                <a:srgbClr val="FF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6143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3" r:id="rId1"/>
    <p:sldLayoutId id="2147484114" r:id="rId2"/>
    <p:sldLayoutId id="2147484115" r:id="rId3"/>
    <p:sldLayoutId id="2147484116" r:id="rId4"/>
    <p:sldLayoutId id="2147484117" r:id="rId5"/>
    <p:sldLayoutId id="2147484118" r:id="rId6"/>
    <p:sldLayoutId id="2147484119" r:id="rId7"/>
    <p:sldLayoutId id="2147484120" r:id="rId8"/>
    <p:sldLayoutId id="2147484121" r:id="rId9"/>
    <p:sldLayoutId id="2147484122" r:id="rId10"/>
    <p:sldLayoutId id="2147484123" r:id="rId11"/>
    <p:sldLayoutId id="2147484124" r:id="rId12"/>
    <p:sldLayoutId id="2147484125" r:id="rId13"/>
    <p:sldLayoutId id="2147484126" r:id="rId14"/>
    <p:sldLayoutId id="2147484127" r:id="rId15"/>
    <p:sldLayoutId id="2147484128" r:id="rId16"/>
    <p:sldLayoutId id="2147484129" r:id="rId17"/>
    <p:sldLayoutId id="2147484130" r:id="rId18"/>
    <p:sldLayoutId id="2147484131" r:id="rId19"/>
    <p:sldLayoutId id="2147484132" r:id="rId20"/>
    <p:sldLayoutId id="2147484133" r:id="rId21"/>
    <p:sldLayoutId id="2147484134" r:id="rId22"/>
    <p:sldLayoutId id="2147484135" r:id="rId23"/>
    <p:sldLayoutId id="2147484136" r:id="rId24"/>
    <p:sldLayoutId id="2147484137" r:id="rId25"/>
    <p:sldLayoutId id="2147484138" r:id="rId26"/>
    <p:sldLayoutId id="2147484139" r:id="rId27"/>
    <p:sldLayoutId id="2147484140" r:id="rId28"/>
    <p:sldLayoutId id="2147484141" r:id="rId29"/>
    <p:sldLayoutId id="2147484143" r:id="rId30"/>
    <p:sldLayoutId id="2147484146" r:id="rId31"/>
  </p:sldLayoutIdLst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800" b="0" kern="1200">
          <a:solidFill>
            <a:schemeClr val="accent1"/>
          </a:solidFill>
          <a:latin typeface="Arial"/>
          <a:ea typeface="ＭＳ Ｐゴシック" charset="0"/>
          <a:cs typeface="Arial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5F86"/>
          </a:solidFill>
          <a:latin typeface="Arial" charset="0"/>
          <a:ea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5F86"/>
          </a:solidFill>
          <a:latin typeface="Arial" charset="0"/>
          <a:ea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5F86"/>
          </a:solidFill>
          <a:latin typeface="Arial" charset="0"/>
          <a:ea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5F86"/>
          </a:solidFill>
          <a:latin typeface="Arial" charset="0"/>
          <a:ea typeface="ＭＳ Ｐゴシック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9E2A2F"/>
          </a:solidFill>
          <a:latin typeface="Arial" charset="0"/>
          <a:ea typeface="ＭＳ Ｐゴシック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9E2A2F"/>
          </a:solidFill>
          <a:latin typeface="Arial" charset="0"/>
          <a:ea typeface="ＭＳ Ｐゴシック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9E2A2F"/>
          </a:solidFill>
          <a:latin typeface="Arial" charset="0"/>
          <a:ea typeface="ＭＳ Ｐゴシック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9E2A2F"/>
          </a:solidFill>
          <a:latin typeface="Arial" charset="0"/>
          <a:ea typeface="ＭＳ Ｐゴシック" charset="0"/>
        </a:defRPr>
      </a:lvl9pPr>
    </p:titleStyle>
    <p:bodyStyle>
      <a:lvl1pPr marL="231775" marR="0" indent="-231775" algn="l" defTabSz="914400" rtl="0" eaLnBrk="1" fontAlgn="base" latinLnBrk="0" hangingPunct="1">
        <a:lnSpc>
          <a:spcPct val="100000"/>
        </a:lnSpc>
        <a:spcBef>
          <a:spcPts val="600"/>
        </a:spcBef>
        <a:spcAft>
          <a:spcPts val="0"/>
        </a:spcAft>
        <a:buClr>
          <a:prstClr val="black"/>
        </a:buClr>
        <a:buSzTx/>
        <a:buFont typeface="Arial"/>
        <a:buChar char="•"/>
        <a:tabLst/>
        <a:defRPr lang="en-US" altLang="en-US" sz="1350" b="0" kern="1200" dirty="0" smtClean="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marL="509588" marR="0" indent="-230188" algn="l" defTabSz="914400" rtl="0" eaLnBrk="1" fontAlgn="base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Lucida Grande"/>
        <a:buChar char="–"/>
        <a:tabLst/>
        <a:defRPr lang="en-US" altLang="en-US" sz="1200" b="0" kern="1200" dirty="0" smtClean="0">
          <a:solidFill>
            <a:schemeClr val="tx1"/>
          </a:solidFill>
          <a:latin typeface="Arial"/>
          <a:ea typeface="ＭＳ Ｐゴシック" charset="0"/>
          <a:cs typeface="Arial"/>
        </a:defRPr>
      </a:lvl2pPr>
      <a:lvl3pPr marL="800100" marR="0" indent="-227013" algn="l" defTabSz="914400" rtl="0" eaLnBrk="1" fontAlgn="base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anose="020B0604020202020204" pitchFamily="34" charset="0"/>
        <a:buChar char="­"/>
        <a:tabLst/>
        <a:defRPr lang="en-US" altLang="en-US" sz="1200" b="0" kern="1200" dirty="0" smtClean="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084263" marR="0" indent="-230188" algn="l" defTabSz="914400" rtl="0" eaLnBrk="1" fontAlgn="base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US" altLang="en-US" sz="1200" b="0" kern="1200" dirty="0" smtClean="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030288" indent="-174625" algn="l" rtl="0" eaLnBrk="1" fontAlgn="base" hangingPunct="1">
        <a:spcBef>
          <a:spcPts val="600"/>
        </a:spcBef>
        <a:spcAft>
          <a:spcPct val="0"/>
        </a:spcAft>
        <a:buFont typeface="Arial"/>
        <a:buChar char="•"/>
        <a:defRPr lang="en-US" altLang="en-US" sz="1600" b="0" kern="1200" dirty="0" smtClean="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536" y="116917"/>
            <a:ext cx="8229600" cy="925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slide title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538" y="1348999"/>
            <a:ext cx="8229600" cy="4591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62105" y="6497358"/>
            <a:ext cx="125034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798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6372F0-8F5B-47E8-9A0C-8905EFF443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6864" y="6497358"/>
            <a:ext cx="5396400" cy="12279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798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9010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50" r:id="rId2"/>
    <p:sldLayoutId id="2147484151" r:id="rId3"/>
    <p:sldLayoutId id="2147484152" r:id="rId4"/>
    <p:sldLayoutId id="2147484153" r:id="rId5"/>
    <p:sldLayoutId id="2147484154" r:id="rId6"/>
    <p:sldLayoutId id="2147484155" r:id="rId7"/>
    <p:sldLayoutId id="2147484156" r:id="rId8"/>
    <p:sldLayoutId id="2147484157" r:id="rId9"/>
    <p:sldLayoutId id="2147484158" r:id="rId10"/>
    <p:sldLayoutId id="2147484159" r:id="rId11"/>
    <p:sldLayoutId id="2147484160" r:id="rId12"/>
    <p:sldLayoutId id="2147484161" r:id="rId13"/>
    <p:sldLayoutId id="2147484162" r:id="rId14"/>
    <p:sldLayoutId id="2147484163" r:id="rId15"/>
    <p:sldLayoutId id="2147484164" r:id="rId16"/>
    <p:sldLayoutId id="2147484165" r:id="rId17"/>
    <p:sldLayoutId id="2147484166" r:id="rId18"/>
    <p:sldLayoutId id="2147484167" r:id="rId19"/>
    <p:sldLayoutId id="2147484168" r:id="rId20"/>
    <p:sldLayoutId id="2147484169" r:id="rId21"/>
    <p:sldLayoutId id="2147484170" r:id="rId22"/>
    <p:sldLayoutId id="2147484171" r:id="rId23"/>
    <p:sldLayoutId id="2147484172" r:id="rId24"/>
    <p:sldLayoutId id="2147484173" r:id="rId25"/>
    <p:sldLayoutId id="2147484174" r:id="rId26"/>
    <p:sldLayoutId id="2147484175" r:id="rId27"/>
    <p:sldLayoutId id="2147484176" r:id="rId28"/>
    <p:sldLayoutId id="2147484177" r:id="rId29"/>
    <p:sldLayoutId id="2147484178" r:id="rId30"/>
    <p:sldLayoutId id="2147484179" r:id="rId31"/>
    <p:sldLayoutId id="2147484180" r:id="rId32"/>
    <p:sldLayoutId id="2147484182" r:id="rId33"/>
    <p:sldLayoutId id="2147484183" r:id="rId34"/>
    <p:sldLayoutId id="2147484184" r:id="rId35"/>
    <p:sldLayoutId id="2147484185" r:id="rId36"/>
    <p:sldLayoutId id="2147484186" r:id="rId37"/>
    <p:sldLayoutId id="2147484187" r:id="rId38"/>
    <p:sldLayoutId id="2147484188" r:id="rId39"/>
    <p:sldLayoutId id="2147484189" r:id="rId40"/>
    <p:sldLayoutId id="2147484191" r:id="rId41"/>
    <p:sldLayoutId id="2147484192" r:id="rId42"/>
    <p:sldLayoutId id="2147484193" r:id="rId43"/>
    <p:sldLayoutId id="2147484194" r:id="rId44"/>
    <p:sldLayoutId id="2147484195" r:id="rId45"/>
  </p:sldLayoutIdLst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394" b="0" kern="1200">
          <a:solidFill>
            <a:schemeClr val="accent1"/>
          </a:solidFill>
          <a:latin typeface="Arial"/>
          <a:ea typeface="ＭＳ Ｐゴシック" charset="0"/>
          <a:cs typeface="Arial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93" b="1">
          <a:solidFill>
            <a:srgbClr val="005F86"/>
          </a:solidFill>
          <a:latin typeface="Arial" charset="0"/>
          <a:ea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93" b="1">
          <a:solidFill>
            <a:srgbClr val="005F86"/>
          </a:solidFill>
          <a:latin typeface="Arial" charset="0"/>
          <a:ea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93" b="1">
          <a:solidFill>
            <a:srgbClr val="005F86"/>
          </a:solidFill>
          <a:latin typeface="Arial" charset="0"/>
          <a:ea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93" b="1">
          <a:solidFill>
            <a:srgbClr val="005F86"/>
          </a:solidFill>
          <a:latin typeface="Arial" charset="0"/>
          <a:ea typeface="ＭＳ Ｐゴシック" charset="0"/>
        </a:defRPr>
      </a:lvl5pPr>
      <a:lvl6pPr marL="342044" algn="l" rtl="0" eaLnBrk="1" fontAlgn="base" hangingPunct="1">
        <a:spcBef>
          <a:spcPct val="0"/>
        </a:spcBef>
        <a:spcAft>
          <a:spcPct val="0"/>
        </a:spcAft>
        <a:defRPr sz="2693" b="1">
          <a:solidFill>
            <a:srgbClr val="9E2A2F"/>
          </a:solidFill>
          <a:latin typeface="Arial" charset="0"/>
          <a:ea typeface="ＭＳ Ｐゴシック" charset="0"/>
        </a:defRPr>
      </a:lvl6pPr>
      <a:lvl7pPr marL="684087" algn="l" rtl="0" eaLnBrk="1" fontAlgn="base" hangingPunct="1">
        <a:spcBef>
          <a:spcPct val="0"/>
        </a:spcBef>
        <a:spcAft>
          <a:spcPct val="0"/>
        </a:spcAft>
        <a:defRPr sz="2693" b="1">
          <a:solidFill>
            <a:srgbClr val="9E2A2F"/>
          </a:solidFill>
          <a:latin typeface="Arial" charset="0"/>
          <a:ea typeface="ＭＳ Ｐゴシック" charset="0"/>
        </a:defRPr>
      </a:lvl7pPr>
      <a:lvl8pPr marL="1026131" algn="l" rtl="0" eaLnBrk="1" fontAlgn="base" hangingPunct="1">
        <a:spcBef>
          <a:spcPct val="0"/>
        </a:spcBef>
        <a:spcAft>
          <a:spcPct val="0"/>
        </a:spcAft>
        <a:defRPr sz="2693" b="1">
          <a:solidFill>
            <a:srgbClr val="9E2A2F"/>
          </a:solidFill>
          <a:latin typeface="Arial" charset="0"/>
          <a:ea typeface="ＭＳ Ｐゴシック" charset="0"/>
        </a:defRPr>
      </a:lvl8pPr>
      <a:lvl9pPr marL="1368174" algn="l" rtl="0" eaLnBrk="1" fontAlgn="base" hangingPunct="1">
        <a:spcBef>
          <a:spcPct val="0"/>
        </a:spcBef>
        <a:spcAft>
          <a:spcPct val="0"/>
        </a:spcAft>
        <a:defRPr sz="2693" b="1">
          <a:solidFill>
            <a:srgbClr val="9E2A2F"/>
          </a:solidFill>
          <a:latin typeface="Arial" charset="0"/>
          <a:ea typeface="ＭＳ Ｐゴシック" charset="0"/>
        </a:defRPr>
      </a:lvl9pPr>
    </p:titleStyle>
    <p:bodyStyle>
      <a:lvl1pPr marL="173397" marR="0" indent="-173397" algn="l" defTabSz="684087" rtl="0" eaLnBrk="1" fontAlgn="base" latinLnBrk="0" hangingPunct="1">
        <a:lnSpc>
          <a:spcPct val="100000"/>
        </a:lnSpc>
        <a:spcBef>
          <a:spcPts val="450"/>
        </a:spcBef>
        <a:spcAft>
          <a:spcPts val="0"/>
        </a:spcAft>
        <a:buClr>
          <a:prstClr val="black"/>
        </a:buClr>
        <a:buSzTx/>
        <a:buFont typeface="Arial"/>
        <a:buChar char="•"/>
        <a:tabLst/>
        <a:defRPr lang="en-US" altLang="en-US" sz="1347" b="0" kern="1200" dirty="0" smtClean="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marL="381236" marR="0" indent="-172210" algn="l" defTabSz="684087" rtl="0" eaLnBrk="1" fontAlgn="base" latinLnBrk="0" hangingPunct="1">
        <a:lnSpc>
          <a:spcPct val="100000"/>
        </a:lnSpc>
        <a:spcBef>
          <a:spcPts val="450"/>
        </a:spcBef>
        <a:spcAft>
          <a:spcPts val="0"/>
        </a:spcAft>
        <a:buClrTx/>
        <a:buSzTx/>
        <a:buFont typeface="Lucida Grande"/>
        <a:buChar char="–"/>
        <a:tabLst/>
        <a:defRPr lang="en-US" altLang="en-US" sz="1247" b="0" kern="1200" dirty="0" smtClean="0">
          <a:solidFill>
            <a:schemeClr val="tx1"/>
          </a:solidFill>
          <a:latin typeface="Arial"/>
          <a:ea typeface="ＭＳ Ｐゴシック" charset="0"/>
          <a:cs typeface="Arial"/>
        </a:defRPr>
      </a:lvl2pPr>
      <a:lvl3pPr marL="598576" marR="0" indent="-169835" algn="l" defTabSz="684087" rtl="0" eaLnBrk="1" fontAlgn="base" latinLnBrk="0" hangingPunct="1">
        <a:lnSpc>
          <a:spcPct val="100000"/>
        </a:lnSpc>
        <a:spcBef>
          <a:spcPts val="450"/>
        </a:spcBef>
        <a:spcAft>
          <a:spcPts val="0"/>
        </a:spcAft>
        <a:buClrTx/>
        <a:buSzTx/>
        <a:buFont typeface="Arial" panose="020B0604020202020204" pitchFamily="34" charset="0"/>
        <a:buChar char="­"/>
        <a:tabLst/>
        <a:defRPr lang="en-US" altLang="en-US" sz="1197" b="0" kern="1200" dirty="0" smtClean="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811166" marR="0" indent="-172210" algn="l" defTabSz="684087" rtl="0" eaLnBrk="1" fontAlgn="base" latinLnBrk="0" hangingPunct="1">
        <a:lnSpc>
          <a:spcPct val="100000"/>
        </a:lnSpc>
        <a:spcBef>
          <a:spcPts val="45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US" altLang="en-US" sz="1197" b="0" kern="1200" dirty="0" smtClean="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770785" indent="-130642" algn="l" rtl="0" eaLnBrk="1" fontAlgn="base" hangingPunct="1">
        <a:spcBef>
          <a:spcPts val="450"/>
        </a:spcBef>
        <a:spcAft>
          <a:spcPct val="0"/>
        </a:spcAft>
        <a:buFont typeface="Arial"/>
        <a:buChar char="•"/>
        <a:defRPr lang="en-US" altLang="en-US" sz="1197" b="0" kern="1200" dirty="0" smtClean="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1881239" indent="-171022" algn="l" defTabSz="684087" rtl="0" eaLnBrk="1" latinLnBrk="0" hangingPunct="1">
        <a:spcBef>
          <a:spcPct val="20000"/>
        </a:spcBef>
        <a:buFont typeface="Arial" pitchFamily="34" charset="0"/>
        <a:buChar char="•"/>
        <a:defRPr sz="1496" kern="1200">
          <a:solidFill>
            <a:schemeClr val="tx1"/>
          </a:solidFill>
          <a:latin typeface="+mn-lt"/>
          <a:ea typeface="+mn-ea"/>
          <a:cs typeface="+mn-cs"/>
        </a:defRPr>
      </a:lvl6pPr>
      <a:lvl7pPr marL="2223283" indent="-171022" algn="l" defTabSz="684087" rtl="0" eaLnBrk="1" latinLnBrk="0" hangingPunct="1">
        <a:spcBef>
          <a:spcPct val="20000"/>
        </a:spcBef>
        <a:buFont typeface="Arial" pitchFamily="34" charset="0"/>
        <a:buChar char="•"/>
        <a:defRPr sz="1496" kern="1200">
          <a:solidFill>
            <a:schemeClr val="tx1"/>
          </a:solidFill>
          <a:latin typeface="+mn-lt"/>
          <a:ea typeface="+mn-ea"/>
          <a:cs typeface="+mn-cs"/>
        </a:defRPr>
      </a:lvl7pPr>
      <a:lvl8pPr marL="2565326" indent="-171022" algn="l" defTabSz="684087" rtl="0" eaLnBrk="1" latinLnBrk="0" hangingPunct="1">
        <a:spcBef>
          <a:spcPct val="20000"/>
        </a:spcBef>
        <a:buFont typeface="Arial" pitchFamily="34" charset="0"/>
        <a:buChar char="•"/>
        <a:defRPr sz="1496" kern="1200">
          <a:solidFill>
            <a:schemeClr val="tx1"/>
          </a:solidFill>
          <a:latin typeface="+mn-lt"/>
          <a:ea typeface="+mn-ea"/>
          <a:cs typeface="+mn-cs"/>
        </a:defRPr>
      </a:lvl8pPr>
      <a:lvl9pPr marL="2907369" indent="-171022" algn="l" defTabSz="684087" rtl="0" eaLnBrk="1" latinLnBrk="0" hangingPunct="1">
        <a:spcBef>
          <a:spcPct val="20000"/>
        </a:spcBef>
        <a:buFont typeface="Arial" pitchFamily="34" charset="0"/>
        <a:buChar char="•"/>
        <a:defRPr sz="14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4087" rtl="0" eaLnBrk="1" latinLnBrk="0" hangingPunct="1">
        <a:defRPr sz="1347" kern="1200">
          <a:solidFill>
            <a:schemeClr val="tx1"/>
          </a:solidFill>
          <a:latin typeface="+mn-lt"/>
          <a:ea typeface="+mn-ea"/>
          <a:cs typeface="+mn-cs"/>
        </a:defRPr>
      </a:lvl1pPr>
      <a:lvl2pPr marL="342044" algn="l" defTabSz="684087" rtl="0" eaLnBrk="1" latinLnBrk="0" hangingPunct="1">
        <a:defRPr sz="1347" kern="1200">
          <a:solidFill>
            <a:schemeClr val="tx1"/>
          </a:solidFill>
          <a:latin typeface="+mn-lt"/>
          <a:ea typeface="+mn-ea"/>
          <a:cs typeface="+mn-cs"/>
        </a:defRPr>
      </a:lvl2pPr>
      <a:lvl3pPr marL="684087" algn="l" defTabSz="684087" rtl="0" eaLnBrk="1" latinLnBrk="0" hangingPunct="1">
        <a:defRPr sz="1347" kern="1200">
          <a:solidFill>
            <a:schemeClr val="tx1"/>
          </a:solidFill>
          <a:latin typeface="+mn-lt"/>
          <a:ea typeface="+mn-ea"/>
          <a:cs typeface="+mn-cs"/>
        </a:defRPr>
      </a:lvl3pPr>
      <a:lvl4pPr marL="1026131" algn="l" defTabSz="684087" rtl="0" eaLnBrk="1" latinLnBrk="0" hangingPunct="1">
        <a:defRPr sz="1347" kern="1200">
          <a:solidFill>
            <a:schemeClr val="tx1"/>
          </a:solidFill>
          <a:latin typeface="+mn-lt"/>
          <a:ea typeface="+mn-ea"/>
          <a:cs typeface="+mn-cs"/>
        </a:defRPr>
      </a:lvl4pPr>
      <a:lvl5pPr marL="1368174" algn="l" defTabSz="684087" rtl="0" eaLnBrk="1" latinLnBrk="0" hangingPunct="1">
        <a:defRPr sz="1347" kern="1200">
          <a:solidFill>
            <a:schemeClr val="tx1"/>
          </a:solidFill>
          <a:latin typeface="+mn-lt"/>
          <a:ea typeface="+mn-ea"/>
          <a:cs typeface="+mn-cs"/>
        </a:defRPr>
      </a:lvl5pPr>
      <a:lvl6pPr marL="1710217" algn="l" defTabSz="684087" rtl="0" eaLnBrk="1" latinLnBrk="0" hangingPunct="1">
        <a:defRPr sz="1347" kern="1200">
          <a:solidFill>
            <a:schemeClr val="tx1"/>
          </a:solidFill>
          <a:latin typeface="+mn-lt"/>
          <a:ea typeface="+mn-ea"/>
          <a:cs typeface="+mn-cs"/>
        </a:defRPr>
      </a:lvl6pPr>
      <a:lvl7pPr marL="2052260" algn="l" defTabSz="684087" rtl="0" eaLnBrk="1" latinLnBrk="0" hangingPunct="1">
        <a:defRPr sz="1347" kern="1200">
          <a:solidFill>
            <a:schemeClr val="tx1"/>
          </a:solidFill>
          <a:latin typeface="+mn-lt"/>
          <a:ea typeface="+mn-ea"/>
          <a:cs typeface="+mn-cs"/>
        </a:defRPr>
      </a:lvl7pPr>
      <a:lvl8pPr marL="2394304" algn="l" defTabSz="684087" rtl="0" eaLnBrk="1" latinLnBrk="0" hangingPunct="1">
        <a:defRPr sz="1347" kern="1200">
          <a:solidFill>
            <a:schemeClr val="tx1"/>
          </a:solidFill>
          <a:latin typeface="+mn-lt"/>
          <a:ea typeface="+mn-ea"/>
          <a:cs typeface="+mn-cs"/>
        </a:defRPr>
      </a:lvl8pPr>
      <a:lvl9pPr marL="2736348" algn="l" defTabSz="684087" rtl="0" eaLnBrk="1" latinLnBrk="0" hangingPunct="1">
        <a:defRPr sz="13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Diagonal Corner Rectangle 6"/>
          <p:cNvSpPr/>
          <p:nvPr userDrawn="1"/>
        </p:nvSpPr>
        <p:spPr>
          <a:xfrm>
            <a:off x="742949" y="6289675"/>
            <a:ext cx="8183767" cy="338138"/>
          </a:xfrm>
          <a:prstGeom prst="round2DiagRect">
            <a:avLst>
              <a:gd name="adj1" fmla="val 38120"/>
              <a:gd name="adj2" fmla="val 0"/>
            </a:avLst>
          </a:prstGeom>
          <a:solidFill>
            <a:srgbClr val="D0D0CE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Round Diagonal Corner Rectangle 7"/>
          <p:cNvSpPr/>
          <p:nvPr/>
        </p:nvSpPr>
        <p:spPr>
          <a:xfrm>
            <a:off x="228600" y="6289675"/>
            <a:ext cx="401638" cy="338138"/>
          </a:xfrm>
          <a:prstGeom prst="round2DiagRect">
            <a:avLst>
              <a:gd name="adj1" fmla="val 0"/>
              <a:gd name="adj2" fmla="val 33665"/>
            </a:avLst>
          </a:prstGeom>
          <a:solidFill>
            <a:srgbClr val="9799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744538" y="503238"/>
            <a:ext cx="7658100" cy="1154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44538" y="2605088"/>
            <a:ext cx="7658100" cy="3306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2055" name="TextBox 3"/>
          <p:cNvSpPr txBox="1">
            <a:spLocks noChangeArrowheads="1"/>
          </p:cNvSpPr>
          <p:nvPr userDrawn="1"/>
        </p:nvSpPr>
        <p:spPr bwMode="auto">
          <a:xfrm>
            <a:off x="741363" y="6281738"/>
            <a:ext cx="457200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en-US" sz="1200" b="1" dirty="0">
                <a:solidFill>
                  <a:srgbClr val="97999B"/>
                </a:solidFill>
                <a:cs typeface="Arial" charset="0"/>
              </a:rPr>
              <a:t>Cargill PDP Overview	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9713" y="6270625"/>
            <a:ext cx="377825" cy="365125"/>
          </a:xfrm>
          <a:prstGeom prst="rect">
            <a:avLst/>
          </a:prstGeom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 b="1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fld id="{4C187B35-CCEA-43AC-AF0D-A61F804DD40C}" type="slidenum">
              <a:rPr lang="en-US" altLang="en-US"/>
              <a:pPr/>
              <a:t>‹#›</a:t>
            </a:fld>
            <a:endParaRPr lang="en-US" alt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F65AA58-3E05-4A94-932E-C2657776FE6C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615" y="6369082"/>
            <a:ext cx="519283" cy="182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105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8" r:id="rId1"/>
    <p:sldLayoutId id="2147484199" r:id="rId2"/>
    <p:sldLayoutId id="2147484200" r:id="rId3"/>
    <p:sldLayoutId id="2147484201" r:id="rId4"/>
    <p:sldLayoutId id="2147484202" r:id="rId5"/>
    <p:sldLayoutId id="2147484203" r:id="rId6"/>
    <p:sldLayoutId id="2147484204" r:id="rId7"/>
    <p:sldLayoutId id="2147484205" r:id="rId8"/>
    <p:sldLayoutId id="2147484206" r:id="rId9"/>
    <p:sldLayoutId id="2147484207" r:id="rId10"/>
    <p:sldLayoutId id="2147484208" r:id="rId11"/>
    <p:sldLayoutId id="2147484209" r:id="rId12"/>
    <p:sldLayoutId id="2147484210" r:id="rId13"/>
    <p:sldLayoutId id="2147484211" r:id="rId14"/>
    <p:sldLayoutId id="2147484212" r:id="rId15"/>
    <p:sldLayoutId id="2147484213" r:id="rId16"/>
    <p:sldLayoutId id="2147484214" r:id="rId17"/>
    <p:sldLayoutId id="2147484215" r:id="rId18"/>
    <p:sldLayoutId id="2147484216" r:id="rId19"/>
    <p:sldLayoutId id="2147484217" r:id="rId20"/>
    <p:sldLayoutId id="2147484218" r:id="rId21"/>
    <p:sldLayoutId id="2147484219" r:id="rId22"/>
    <p:sldLayoutId id="2147484220" r:id="rId23"/>
    <p:sldLayoutId id="2147484221" r:id="rId24"/>
    <p:sldLayoutId id="2147484222" r:id="rId25"/>
    <p:sldLayoutId id="2147484223" r:id="rId26"/>
    <p:sldLayoutId id="2147484224" r:id="rId27"/>
    <p:sldLayoutId id="2147484225" r:id="rId28"/>
    <p:sldLayoutId id="2147484226" r:id="rId2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 kern="1200">
          <a:solidFill>
            <a:srgbClr val="519137"/>
          </a:solidFill>
          <a:latin typeface="Arial"/>
          <a:ea typeface="ＭＳ Ｐゴシック" charset="0"/>
          <a:cs typeface="Arial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658D1B"/>
          </a:solidFill>
          <a:latin typeface="Arial" charset="0"/>
          <a:ea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658D1B"/>
          </a:solidFill>
          <a:latin typeface="Arial" charset="0"/>
          <a:ea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658D1B"/>
          </a:solidFill>
          <a:latin typeface="Arial" charset="0"/>
          <a:ea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658D1B"/>
          </a:solidFill>
          <a:latin typeface="Arial" charset="0"/>
          <a:ea typeface="ＭＳ Ｐゴシック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9E2A2F"/>
          </a:solidFill>
          <a:latin typeface="Arial" charset="0"/>
          <a:ea typeface="ＭＳ Ｐゴシック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9E2A2F"/>
          </a:solidFill>
          <a:latin typeface="Arial" charset="0"/>
          <a:ea typeface="ＭＳ Ｐゴシック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9E2A2F"/>
          </a:solidFill>
          <a:latin typeface="Arial" charset="0"/>
          <a:ea typeface="ＭＳ Ｐゴシック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9E2A2F"/>
          </a:solidFill>
          <a:latin typeface="Arial" charset="0"/>
          <a:ea typeface="ＭＳ Ｐゴシック" charset="0"/>
        </a:defRPr>
      </a:lvl9pPr>
    </p:titleStyle>
    <p:bodyStyle>
      <a:lvl1pPr marL="171450" indent="-1714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400" kern="120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marL="401638" indent="-23018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200" kern="1200">
          <a:solidFill>
            <a:schemeClr val="tx1"/>
          </a:solidFill>
          <a:latin typeface="Arial"/>
          <a:ea typeface="ＭＳ Ｐゴシック" charset="0"/>
          <a:cs typeface="Arial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26" Type="http://schemas.openxmlformats.org/officeDocument/2006/relationships/tags" Target="../tags/tag39.xml"/><Relationship Id="rId39" Type="http://schemas.openxmlformats.org/officeDocument/2006/relationships/tags" Target="../tags/tag52.xml"/><Relationship Id="rId3" Type="http://schemas.openxmlformats.org/officeDocument/2006/relationships/tags" Target="../tags/tag16.xml"/><Relationship Id="rId21" Type="http://schemas.openxmlformats.org/officeDocument/2006/relationships/tags" Target="../tags/tag34.xml"/><Relationship Id="rId34" Type="http://schemas.openxmlformats.org/officeDocument/2006/relationships/tags" Target="../tags/tag47.xml"/><Relationship Id="rId42" Type="http://schemas.openxmlformats.org/officeDocument/2006/relationships/tags" Target="../tags/tag55.xml"/><Relationship Id="rId47" Type="http://schemas.openxmlformats.org/officeDocument/2006/relationships/tags" Target="../tags/tag60.xml"/><Relationship Id="rId50" Type="http://schemas.openxmlformats.org/officeDocument/2006/relationships/slideLayout" Target="../slideLayouts/slideLayout90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5" Type="http://schemas.openxmlformats.org/officeDocument/2006/relationships/tags" Target="../tags/tag38.xml"/><Relationship Id="rId33" Type="http://schemas.openxmlformats.org/officeDocument/2006/relationships/tags" Target="../tags/tag46.xml"/><Relationship Id="rId38" Type="http://schemas.openxmlformats.org/officeDocument/2006/relationships/tags" Target="../tags/tag51.xml"/><Relationship Id="rId46" Type="http://schemas.openxmlformats.org/officeDocument/2006/relationships/tags" Target="../tags/tag59.xml"/><Relationship Id="rId2" Type="http://schemas.openxmlformats.org/officeDocument/2006/relationships/tags" Target="../tags/tag15.xml"/><Relationship Id="rId16" Type="http://schemas.openxmlformats.org/officeDocument/2006/relationships/tags" Target="../tags/tag29.xml"/><Relationship Id="rId20" Type="http://schemas.openxmlformats.org/officeDocument/2006/relationships/tags" Target="../tags/tag33.xml"/><Relationship Id="rId29" Type="http://schemas.openxmlformats.org/officeDocument/2006/relationships/tags" Target="../tags/tag42.xml"/><Relationship Id="rId41" Type="http://schemas.openxmlformats.org/officeDocument/2006/relationships/tags" Target="../tags/tag54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24" Type="http://schemas.openxmlformats.org/officeDocument/2006/relationships/tags" Target="../tags/tag37.xml"/><Relationship Id="rId32" Type="http://schemas.openxmlformats.org/officeDocument/2006/relationships/tags" Target="../tags/tag45.xml"/><Relationship Id="rId37" Type="http://schemas.openxmlformats.org/officeDocument/2006/relationships/tags" Target="../tags/tag50.xml"/><Relationship Id="rId40" Type="http://schemas.openxmlformats.org/officeDocument/2006/relationships/tags" Target="../tags/tag53.xml"/><Relationship Id="rId45" Type="http://schemas.openxmlformats.org/officeDocument/2006/relationships/tags" Target="../tags/tag58.xml"/><Relationship Id="rId5" Type="http://schemas.openxmlformats.org/officeDocument/2006/relationships/tags" Target="../tags/tag18.xml"/><Relationship Id="rId15" Type="http://schemas.openxmlformats.org/officeDocument/2006/relationships/tags" Target="../tags/tag28.xml"/><Relationship Id="rId23" Type="http://schemas.openxmlformats.org/officeDocument/2006/relationships/tags" Target="../tags/tag36.xml"/><Relationship Id="rId28" Type="http://schemas.openxmlformats.org/officeDocument/2006/relationships/tags" Target="../tags/tag41.xml"/><Relationship Id="rId36" Type="http://schemas.openxmlformats.org/officeDocument/2006/relationships/tags" Target="../tags/tag49.xml"/><Relationship Id="rId49" Type="http://schemas.openxmlformats.org/officeDocument/2006/relationships/tags" Target="../tags/tag62.xml"/><Relationship Id="rId10" Type="http://schemas.openxmlformats.org/officeDocument/2006/relationships/tags" Target="../tags/tag23.xml"/><Relationship Id="rId19" Type="http://schemas.openxmlformats.org/officeDocument/2006/relationships/tags" Target="../tags/tag32.xml"/><Relationship Id="rId31" Type="http://schemas.openxmlformats.org/officeDocument/2006/relationships/tags" Target="../tags/tag44.xml"/><Relationship Id="rId44" Type="http://schemas.openxmlformats.org/officeDocument/2006/relationships/tags" Target="../tags/tag57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tags" Target="../tags/tag35.xml"/><Relationship Id="rId27" Type="http://schemas.openxmlformats.org/officeDocument/2006/relationships/tags" Target="../tags/tag40.xml"/><Relationship Id="rId30" Type="http://schemas.openxmlformats.org/officeDocument/2006/relationships/tags" Target="../tags/tag43.xml"/><Relationship Id="rId35" Type="http://schemas.openxmlformats.org/officeDocument/2006/relationships/tags" Target="../tags/tag48.xml"/><Relationship Id="rId43" Type="http://schemas.openxmlformats.org/officeDocument/2006/relationships/tags" Target="../tags/tag56.xml"/><Relationship Id="rId48" Type="http://schemas.openxmlformats.org/officeDocument/2006/relationships/tags" Target="../tags/tag61.xml"/><Relationship Id="rId8" Type="http://schemas.openxmlformats.org/officeDocument/2006/relationships/tags" Target="../tags/tag21.xml"/><Relationship Id="rId51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slideLayout" Target="../slideLayouts/slideLayout90.xml"/><Relationship Id="rId7" Type="http://schemas.openxmlformats.org/officeDocument/2006/relationships/diagramQuickStyle" Target="../diagrams/quickStyle2.xml"/><Relationship Id="rId12" Type="http://schemas.openxmlformats.org/officeDocument/2006/relationships/image" Target="../media/image27.png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openxmlformats.org/officeDocument/2006/relationships/diagramLayout" Target="../diagrams/layout2.xml"/><Relationship Id="rId11" Type="http://schemas.openxmlformats.org/officeDocument/2006/relationships/image" Target="../media/image26.png"/><Relationship Id="rId5" Type="http://schemas.openxmlformats.org/officeDocument/2006/relationships/diagramData" Target="../diagrams/data2.xml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5.xml"/><Relationship Id="rId9" Type="http://schemas.microsoft.com/office/2007/relationships/diagramDrawing" Target="../diagrams/drawing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powerbi.com/groups/me/reports/2761036f-7208-4c61-9c1a-00f80167fc97/ReportSection?ctid=57368c21-b8cf-42cf-bd0b-43ecd4bc62ae&amp;experience=power-bi" TargetMode="External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cargillonline.sharepoint.com/:p:/s/CPPM_Corporate/EQQ_hy2Wn09DrgdSsU2v_JcB4eqpDUsXBB3ZfmneNyHAkQ?e=sC43lX" TargetMode="External"/><Relationship Id="rId2" Type="http://schemas.openxmlformats.org/officeDocument/2006/relationships/hyperlink" Target="https://cargillonline.sharepoint.com/:p:/s/CPPM_Corporate/EbQUGUfluW1Dmg2jHAFjdsQBDZC_w7tAeaIDpS0TH3dipQ?e=W9v0tU" TargetMode="External"/><Relationship Id="rId1" Type="http://schemas.openxmlformats.org/officeDocument/2006/relationships/slideLayout" Target="../slideLayouts/slideLayout40.xml"/><Relationship Id="rId4" Type="http://schemas.openxmlformats.org/officeDocument/2006/relationships/hyperlink" Target="https://cargillonline.sharepoint.com/:p:/r/sites/VilvoordeSiteManagement/CI/CI%20projects/DMAIC-%20PDCA%20cycles/PDCA%20-%20CAPEX%20process%20improvement/CFB_COP_SEPT_2024.pptx?d=w0cb641efd87b4ba4a02be04ae893a664&amp;csf=1&amp;web=1&amp;e=2NwEPb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4.xml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24.png"/><Relationship Id="rId5" Type="http://schemas.openxmlformats.org/officeDocument/2006/relationships/tags" Target="../tags/tag9.xml"/><Relationship Id="rId10" Type="http://schemas.openxmlformats.org/officeDocument/2006/relationships/image" Target="../media/image23.png"/><Relationship Id="rId4" Type="http://schemas.openxmlformats.org/officeDocument/2006/relationships/tags" Target="../tags/tag8.xml"/><Relationship Id="rId9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0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hyperlink" Target="https://cargillonline.sharepoint.com/sites/VilvoordeSiteManagement/FtoM/SitePages/KPI.aspx" TargetMode="External"/><Relationship Id="rId5" Type="http://schemas.openxmlformats.org/officeDocument/2006/relationships/hyperlink" Target="https://cargillonline.sharepoint.com/:x:/r/sites/VilvoordeSiteManagement/ItoD/_layouts/15/Doc.aspx?sourcedoc=%7B8777C081-49F6-4DA7-89C9-DDF2AF70959D%7D&amp;file=Action__LOG%20tactical%20CAPEX%20PRT.xlsx&amp;action=default&amp;mobileredirect=true" TargetMode="External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740664" y="2400300"/>
            <a:ext cx="7514337" cy="2057400"/>
          </a:xfrm>
        </p:spPr>
        <p:txBody>
          <a:bodyPr/>
          <a:lstStyle/>
          <a:p>
            <a:r>
              <a:rPr lang="en-US" dirty="0"/>
              <a:t> </a:t>
            </a:r>
          </a:p>
          <a:p>
            <a:r>
              <a:rPr lang="en-US" sz="2800" dirty="0"/>
              <a:t>CAPEX Vilvoorde PMO 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200" dirty="0"/>
              <a:t>Draft 26/09/2024 </a:t>
            </a:r>
          </a:p>
          <a:p>
            <a:r>
              <a:rPr lang="en-US" sz="1200" dirty="0"/>
              <a:t>Maike Speck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67715" y="951082"/>
            <a:ext cx="8209241" cy="692521"/>
          </a:xfr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873"/>
              </a:lnSpc>
            </a:pPr>
            <a:r>
              <a:rPr lang="en-US" dirty="0">
                <a:solidFill>
                  <a:srgbClr val="005F86"/>
                </a:solidFill>
                <a:latin typeface="Arial" panose="020B0604020202020204" pitchFamily="34" charset="0"/>
              </a:rPr>
              <a:t>Monthly CAPEX Execution Meeting </a:t>
            </a:r>
            <a:br>
              <a:rPr lang="en-US" dirty="0">
                <a:solidFill>
                  <a:srgbClr val="005F86"/>
                </a:solidFill>
                <a:latin typeface="Arial" panose="020B0604020202020204" pitchFamily="34" charset="0"/>
              </a:rPr>
            </a:br>
            <a:endParaRPr lang="en-US" dirty="0">
              <a:solidFill>
                <a:srgbClr val="005F86"/>
              </a:solidFill>
              <a:latin typeface="Arial" panose="020B0604020202020204" pitchFamily="34" charset="0"/>
            </a:endParaRPr>
          </a:p>
        </p:txBody>
      </p:sp>
      <p:sp>
        <p:nvSpPr>
          <p:cNvPr id="3" name="BainBulletsConfiguration" hidden="1"/>
          <p:cNvSpPr txBox="1"/>
          <p:nvPr>
            <p:custDataLst>
              <p:tags r:id="rId2"/>
            </p:custDataLst>
          </p:nvPr>
        </p:nvSpPr>
        <p:spPr>
          <a:xfrm>
            <a:off x="2285712" y="1836680"/>
            <a:ext cx="3933402" cy="47556"/>
          </a:xfrm>
          <a:prstGeom prst="rect">
            <a:avLst/>
          </a:prstGeom>
          <a:noFill/>
        </p:spPr>
        <p:txBody>
          <a:bodyPr vert="horz" wrap="square" lIns="15928" tIns="15928" rIns="15928" bIns="15928" rtlCol="0">
            <a:spAutoFit/>
          </a:bodyPr>
          <a:lstStyle/>
          <a:p>
            <a:pPr marL="99763" indent="-99763" defTabSz="399051" fontAlgn="auto">
              <a:spcBef>
                <a:spcPts val="674"/>
              </a:spcBef>
              <a:spcAft>
                <a:spcPts val="0"/>
              </a:spcAft>
              <a:buFontTx/>
              <a:buChar char="•"/>
            </a:pPr>
            <a:r>
              <a:rPr lang="en-US" sz="100">
                <a:solidFill>
                  <a:srgbClr val="FFFFFF"/>
                </a:solidFill>
                <a:latin typeface="Arial"/>
                <a:cs typeface="Arial"/>
              </a:rPr>
              <a:t>12_84 26_84 55_85 45_89 </a:t>
            </a:r>
          </a:p>
        </p:txBody>
      </p:sp>
      <p:cxnSp>
        <p:nvCxnSpPr>
          <p:cNvPr id="92" name="Straight Connector 91"/>
          <p:cNvCxnSpPr>
            <a:cxnSpLocks/>
            <a:stCxn id="49" idx="3"/>
          </p:cNvCxnSpPr>
          <p:nvPr>
            <p:custDataLst>
              <p:tags r:id="rId3"/>
            </p:custDataLst>
          </p:nvPr>
        </p:nvCxnSpPr>
        <p:spPr>
          <a:xfrm>
            <a:off x="2653948" y="2911380"/>
            <a:ext cx="178225" cy="220158"/>
          </a:xfrm>
          <a:prstGeom prst="line">
            <a:avLst/>
          </a:prstGeom>
          <a:ln w="9525">
            <a:solidFill>
              <a:schemeClr val="tx1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>
            <a:cxnSpLocks/>
            <a:stCxn id="84" idx="3"/>
          </p:cNvCxnSpPr>
          <p:nvPr>
            <p:custDataLst>
              <p:tags r:id="rId4"/>
            </p:custDataLst>
          </p:nvPr>
        </p:nvCxnSpPr>
        <p:spPr>
          <a:xfrm>
            <a:off x="2585889" y="3410126"/>
            <a:ext cx="246284" cy="48826"/>
          </a:xfrm>
          <a:prstGeom prst="line">
            <a:avLst/>
          </a:prstGeom>
          <a:ln w="9525" cap="flat" cmpd="sng" algn="ctr">
            <a:solidFill>
              <a:srgbClr val="5B8F22"/>
            </a:solidFill>
            <a:prstDash val="solid"/>
            <a:miter lim="800000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btfpBulletedList143985"/>
          <p:cNvSpPr/>
          <p:nvPr>
            <p:custDataLst>
              <p:tags r:id="rId5"/>
            </p:custDataLst>
          </p:nvPr>
        </p:nvSpPr>
        <p:spPr>
          <a:xfrm>
            <a:off x="3742080" y="2657195"/>
            <a:ext cx="1569605" cy="5960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5928" tIns="15928" rIns="1593" bIns="15928" rtlCol="0" anchor="t"/>
          <a:lstStyle/>
          <a:p>
            <a:pPr defTabSz="399051" fontAlgn="auto">
              <a:spcBef>
                <a:spcPts val="338"/>
              </a:spcBef>
              <a:spcAft>
                <a:spcPts val="0"/>
              </a:spcAft>
            </a:pPr>
            <a:r>
              <a:rPr lang="en-US" sz="589" b="1" dirty="0">
                <a:solidFill>
                  <a:srgbClr val="5B8F22"/>
                </a:solidFill>
                <a:latin typeface="Arial"/>
                <a:cs typeface="Arial"/>
              </a:rPr>
              <a:t>SME’s</a:t>
            </a:r>
          </a:p>
          <a:p>
            <a:pPr marL="99763" indent="-99763" defTabSz="399051" fontAlgn="auto">
              <a:spcBef>
                <a:spcPts val="338"/>
              </a:spcBef>
              <a:spcAft>
                <a:spcPts val="0"/>
              </a:spcAft>
              <a:buFontTx/>
              <a:buChar char="•"/>
            </a:pPr>
            <a:r>
              <a:rPr lang="en-US" sz="589" dirty="0">
                <a:solidFill>
                  <a:srgbClr val="000000"/>
                </a:solidFill>
                <a:latin typeface="Arial"/>
                <a:cs typeface="Arial"/>
              </a:rPr>
              <a:t>Solves or escalates roadblocks </a:t>
            </a:r>
          </a:p>
          <a:p>
            <a:pPr marL="99763" indent="-99763" defTabSz="399051" fontAlgn="auto">
              <a:spcBef>
                <a:spcPts val="338"/>
              </a:spcBef>
              <a:spcAft>
                <a:spcPts val="0"/>
              </a:spcAft>
              <a:buFontTx/>
              <a:buChar char="•"/>
            </a:pPr>
            <a:r>
              <a:rPr lang="en-US" sz="589" dirty="0">
                <a:solidFill>
                  <a:srgbClr val="000000"/>
                </a:solidFill>
                <a:latin typeface="Arial"/>
                <a:cs typeface="Arial"/>
              </a:rPr>
              <a:t>Answers questions</a:t>
            </a:r>
          </a:p>
          <a:p>
            <a:pPr marL="99763" indent="-99763" defTabSz="399051" fontAlgn="auto">
              <a:spcBef>
                <a:spcPts val="338"/>
              </a:spcBef>
              <a:spcAft>
                <a:spcPts val="0"/>
              </a:spcAft>
              <a:buFontTx/>
              <a:buChar char="•"/>
            </a:pPr>
            <a:r>
              <a:rPr lang="en-US" sz="589" dirty="0">
                <a:solidFill>
                  <a:srgbClr val="000000"/>
                </a:solidFill>
                <a:latin typeface="Arial"/>
                <a:cs typeface="Arial"/>
              </a:rPr>
              <a:t>Provide data to drive decisions</a:t>
            </a:r>
          </a:p>
        </p:txBody>
      </p:sp>
      <p:sp>
        <p:nvSpPr>
          <p:cNvPr id="49" name="Rectangle 48"/>
          <p:cNvSpPr/>
          <p:nvPr>
            <p:custDataLst>
              <p:tags r:id="rId6"/>
            </p:custDataLst>
          </p:nvPr>
        </p:nvSpPr>
        <p:spPr>
          <a:xfrm>
            <a:off x="1092560" y="2667721"/>
            <a:ext cx="1561388" cy="487318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928" tIns="15928" rIns="1593" bIns="15928" rtlCol="0" anchor="t"/>
          <a:lstStyle/>
          <a:p>
            <a:pPr defTabSz="399051" fontAlgn="auto">
              <a:spcBef>
                <a:spcPts val="338"/>
              </a:spcBef>
              <a:spcAft>
                <a:spcPts val="0"/>
              </a:spcAft>
            </a:pPr>
            <a:r>
              <a:rPr lang="en-US" sz="589" b="1" dirty="0">
                <a:solidFill>
                  <a:srgbClr val="000000"/>
                </a:solidFill>
                <a:latin typeface="Arial"/>
                <a:cs typeface="Arial"/>
              </a:rPr>
              <a:t>Project Managers = </a:t>
            </a:r>
          </a:p>
          <a:p>
            <a:pPr marL="75864" indent="-75864" defTabSz="399051" fontAlgn="auto">
              <a:spcBef>
                <a:spcPts val="338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589" dirty="0">
                <a:solidFill>
                  <a:srgbClr val="000000"/>
                </a:solidFill>
                <a:latin typeface="Arial"/>
                <a:cs typeface="Arial"/>
              </a:rPr>
              <a:t>Flags roadblocks</a:t>
            </a:r>
          </a:p>
          <a:p>
            <a:pPr marL="75864" indent="-75864" defTabSz="399051" fontAlgn="auto">
              <a:spcBef>
                <a:spcPts val="338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589" dirty="0">
                <a:solidFill>
                  <a:srgbClr val="000000"/>
                </a:solidFill>
                <a:latin typeface="Arial"/>
                <a:cs typeface="Arial"/>
              </a:rPr>
              <a:t>Focuses on getting work done (LSW)</a:t>
            </a:r>
          </a:p>
        </p:txBody>
      </p:sp>
      <p:sp>
        <p:nvSpPr>
          <p:cNvPr id="45" name="TextBox 44"/>
          <p:cNvSpPr txBox="1"/>
          <p:nvPr>
            <p:custDataLst>
              <p:tags r:id="rId7"/>
            </p:custDataLst>
          </p:nvPr>
        </p:nvSpPr>
        <p:spPr>
          <a:xfrm>
            <a:off x="5475562" y="2681885"/>
            <a:ext cx="3285850" cy="1958619"/>
          </a:xfrm>
          <a:prstGeom prst="rect">
            <a:avLst/>
          </a:prstGeom>
          <a:noFill/>
        </p:spPr>
        <p:txBody>
          <a:bodyPr vert="horz" wrap="square" lIns="15928" tIns="15928" rIns="15928" bIns="15928" rtlCol="0" anchor="t">
            <a:noAutofit/>
          </a:bodyPr>
          <a:lstStyle/>
          <a:p>
            <a:pPr marL="94374" indent="-94374" defTabSz="399051" fontAlgn="auto">
              <a:spcBef>
                <a:spcPts val="505"/>
              </a:spcBef>
              <a:spcAft>
                <a:spcPts val="0"/>
              </a:spcAft>
              <a:buFont typeface="Verdana" panose="020B0604030504040204" pitchFamily="34" charset="0"/>
              <a:buChar char="•"/>
            </a:pPr>
            <a:r>
              <a:rPr lang="en-US" sz="1050" dirty="0">
                <a:solidFill>
                  <a:srgbClr val="000000"/>
                </a:solidFill>
                <a:latin typeface="Arial"/>
                <a:cs typeface="Arial"/>
              </a:rPr>
              <a:t>Share cross-department progress </a:t>
            </a:r>
          </a:p>
          <a:p>
            <a:pPr marL="94374" indent="-94374" defTabSz="399051" fontAlgn="auto">
              <a:spcBef>
                <a:spcPts val="505"/>
              </a:spcBef>
              <a:spcAft>
                <a:spcPts val="0"/>
              </a:spcAft>
              <a:buFont typeface="Verdana" panose="020B0604030504040204" pitchFamily="34" charset="0"/>
              <a:buChar char="•"/>
            </a:pPr>
            <a:r>
              <a:rPr lang="en-US" sz="1050" dirty="0">
                <a:solidFill>
                  <a:srgbClr val="000000"/>
                </a:solidFill>
                <a:latin typeface="Arial"/>
                <a:cs typeface="Arial"/>
              </a:rPr>
              <a:t>flag roadblocks early</a:t>
            </a:r>
          </a:p>
          <a:p>
            <a:pPr marL="94374" indent="-94374" defTabSz="399051" fontAlgn="auto">
              <a:spcBef>
                <a:spcPts val="505"/>
              </a:spcBef>
              <a:spcAft>
                <a:spcPts val="0"/>
              </a:spcAft>
              <a:buFont typeface="Verdana" panose="020B0604030504040204" pitchFamily="34" charset="0"/>
              <a:buChar char="•"/>
            </a:pPr>
            <a:r>
              <a:rPr lang="en-US" sz="1050" dirty="0">
                <a:solidFill>
                  <a:srgbClr val="000000"/>
                </a:solidFill>
                <a:latin typeface="Arial"/>
                <a:cs typeface="Arial"/>
              </a:rPr>
              <a:t>Park project-specific detailed discussions</a:t>
            </a:r>
          </a:p>
          <a:p>
            <a:pPr marL="94374" indent="-94374" defTabSz="399051" fontAlgn="auto">
              <a:spcBef>
                <a:spcPts val="505"/>
              </a:spcBef>
              <a:spcAft>
                <a:spcPts val="0"/>
              </a:spcAft>
              <a:buFont typeface="Verdana" panose="020B0604030504040204" pitchFamily="34" charset="0"/>
              <a:buChar char="•"/>
            </a:pPr>
            <a:r>
              <a:rPr lang="en-US" sz="1050" dirty="0">
                <a:solidFill>
                  <a:srgbClr val="000000"/>
                </a:solidFill>
                <a:latin typeface="Arial"/>
                <a:cs typeface="Arial"/>
              </a:rPr>
              <a:t>Challenge each other on project valuations and timelines</a:t>
            </a:r>
          </a:p>
          <a:p>
            <a:pPr marL="94374" indent="-94374" defTabSz="399051" fontAlgn="auto">
              <a:spcBef>
                <a:spcPts val="505"/>
              </a:spcBef>
              <a:spcAft>
                <a:spcPts val="0"/>
              </a:spcAft>
              <a:buFont typeface="Verdana" panose="020B0604030504040204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Arial"/>
                <a:cs typeface="Arial"/>
              </a:rPr>
              <a:t>The meeting should be action-oriented</a:t>
            </a:r>
          </a:p>
          <a:p>
            <a:pPr marL="94374" indent="-94374" defTabSz="399051" fontAlgn="auto">
              <a:spcBef>
                <a:spcPts val="505"/>
              </a:spcBef>
              <a:spcAft>
                <a:spcPts val="0"/>
              </a:spcAft>
              <a:buFont typeface="Verdana" panose="020B0604030504040204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Arial"/>
                <a:cs typeface="Arial"/>
              </a:rPr>
              <a:t>Set priorities </a:t>
            </a:r>
          </a:p>
          <a:p>
            <a:pPr marL="551574" lvl="1" indent="-94374" defTabSz="399051" fontAlgn="auto">
              <a:spcBef>
                <a:spcPts val="505"/>
              </a:spcBef>
              <a:spcAft>
                <a:spcPts val="0"/>
              </a:spcAft>
              <a:buFont typeface="Verdana" panose="020B0604030504040204" pitchFamily="34" charset="0"/>
              <a:buChar char="•"/>
              <a:defRPr/>
            </a:pPr>
            <a:endParaRPr lang="en-US" sz="105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4374" indent="-94374" defTabSz="399051" fontAlgn="auto">
              <a:spcBef>
                <a:spcPts val="505"/>
              </a:spcBef>
              <a:spcAft>
                <a:spcPts val="0"/>
              </a:spcAft>
              <a:buFont typeface="Verdana" panose="020B0604030504040204" pitchFamily="34" charset="0"/>
              <a:buChar char="•"/>
            </a:pPr>
            <a:endParaRPr lang="en-US" sz="105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4" name="btfpLayoutConfig" hidden="1"/>
          <p:cNvSpPr txBox="1"/>
          <p:nvPr>
            <p:custDataLst>
              <p:tags r:id="rId8"/>
            </p:custDataLst>
          </p:nvPr>
        </p:nvSpPr>
        <p:spPr>
          <a:xfrm>
            <a:off x="2063649" y="1511525"/>
            <a:ext cx="4595705" cy="107722"/>
          </a:xfrm>
          <a:prstGeom prst="rect">
            <a:avLst/>
          </a:prstGeom>
          <a:noFill/>
        </p:spPr>
        <p:txBody>
          <a:bodyPr vert="horz" wrap="square" lIns="23635" rIns="23635" rtlCol="0">
            <a:spAutoFit/>
          </a:bodyPr>
          <a:lstStyle/>
          <a:p>
            <a:pPr marL="99763" indent="-99763" defTabSz="399051" fontAlgn="auto">
              <a:spcBef>
                <a:spcPts val="674"/>
              </a:spcBef>
              <a:spcAft>
                <a:spcPts val="0"/>
              </a:spcAft>
              <a:buFontTx/>
              <a:buChar char="•"/>
            </a:pPr>
            <a:r>
              <a:rPr lang="en-US" sz="100">
                <a:solidFill>
                  <a:srgbClr val="FFFFFF">
                    <a:alpha val="0"/>
                  </a:srgbClr>
                </a:solidFill>
                <a:latin typeface="Arial"/>
                <a:cs typeface="Arial"/>
              </a:rPr>
              <a:t>overall_1_131963206030367274 columns_3_131963205524077529 23_1_131963205554809497 30_1_131963205555268266 45_1_131963205985246013 33_0_131963209999085449 55_0_131963209999115367 37_1_131963209883222330 50_1_132134010549806366 8_1_132134029278735661 </a:t>
            </a:r>
          </a:p>
        </p:txBody>
      </p:sp>
      <p:grpSp>
        <p:nvGrpSpPr>
          <p:cNvPr id="23" name="btfpColumnHeaderBox570989"/>
          <p:cNvGrpSpPr/>
          <p:nvPr>
            <p:custDataLst>
              <p:tags r:id="rId9"/>
            </p:custDataLst>
          </p:nvPr>
        </p:nvGrpSpPr>
        <p:grpSpPr>
          <a:xfrm>
            <a:off x="658752" y="2427255"/>
            <a:ext cx="4346844" cy="179014"/>
            <a:chOff x="304801" y="1606278"/>
            <a:chExt cx="3770509" cy="233635"/>
          </a:xfrm>
        </p:grpSpPr>
        <p:sp>
          <p:nvSpPr>
            <p:cNvPr id="21" name="btfpColumnHeaderBoxText570989"/>
            <p:cNvSpPr txBox="1"/>
            <p:nvPr>
              <p:custDataLst>
                <p:tags r:id="rId48"/>
              </p:custDataLst>
            </p:nvPr>
          </p:nvSpPr>
          <p:spPr bwMode="gray">
            <a:xfrm>
              <a:off x="304801" y="1606278"/>
              <a:ext cx="3770509" cy="233635"/>
            </a:xfrm>
            <a:prstGeom prst="rect">
              <a:avLst/>
            </a:prstGeom>
            <a:noFill/>
          </p:spPr>
          <p:txBody>
            <a:bodyPr vert="horz" wrap="square" lIns="20220" tIns="20220" rIns="20220" bIns="20220" rtlCol="0" anchor="b">
              <a:spAutoFit/>
            </a:bodyPr>
            <a:lstStyle/>
            <a:p>
              <a:pPr defTabSz="399051" fontAlgn="auto">
                <a:spcAft>
                  <a:spcPts val="0"/>
                </a:spcAft>
              </a:pPr>
              <a:r>
                <a:rPr lang="en-US" sz="898" b="1">
                  <a:solidFill>
                    <a:srgbClr val="000000"/>
                  </a:solidFill>
                  <a:latin typeface="Arial"/>
                  <a:cs typeface="Arial"/>
                </a:rPr>
                <a:t>Who’s in the room</a:t>
              </a:r>
            </a:p>
          </p:txBody>
        </p:sp>
        <p:cxnSp>
          <p:nvCxnSpPr>
            <p:cNvPr id="22" name="btfpColumnHeaderBoxLine570989"/>
            <p:cNvCxnSpPr/>
            <p:nvPr>
              <p:custDataLst>
                <p:tags r:id="rId49"/>
              </p:custDataLst>
            </p:nvPr>
          </p:nvCxnSpPr>
          <p:spPr bwMode="gray">
            <a:xfrm>
              <a:off x="304801" y="1839913"/>
              <a:ext cx="3770509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btfpColumnHeaderBox174532"/>
          <p:cNvGrpSpPr/>
          <p:nvPr>
            <p:custDataLst>
              <p:tags r:id="rId10"/>
            </p:custDataLst>
          </p:nvPr>
        </p:nvGrpSpPr>
        <p:grpSpPr>
          <a:xfrm>
            <a:off x="5449454" y="2425609"/>
            <a:ext cx="3227166" cy="179014"/>
            <a:chOff x="8314268" y="4171868"/>
            <a:chExt cx="3547533" cy="201695"/>
          </a:xfrm>
        </p:grpSpPr>
        <p:sp>
          <p:nvSpPr>
            <p:cNvPr id="28" name="btfpColumnHeaderBoxText174532"/>
            <p:cNvSpPr txBox="1"/>
            <p:nvPr>
              <p:custDataLst>
                <p:tags r:id="rId46"/>
              </p:custDataLst>
            </p:nvPr>
          </p:nvSpPr>
          <p:spPr bwMode="gray">
            <a:xfrm>
              <a:off x="8314268" y="4171868"/>
              <a:ext cx="3547533" cy="201695"/>
            </a:xfrm>
            <a:prstGeom prst="rect">
              <a:avLst/>
            </a:prstGeom>
            <a:noFill/>
          </p:spPr>
          <p:txBody>
            <a:bodyPr vert="horz" wrap="square" lIns="20220" tIns="20220" rIns="20220" bIns="20220" rtlCol="0" anchor="b">
              <a:spAutoFit/>
            </a:bodyPr>
            <a:lstStyle/>
            <a:p>
              <a:pPr defTabSz="399051" fontAlgn="auto">
                <a:spcAft>
                  <a:spcPts val="0"/>
                </a:spcAft>
              </a:pPr>
              <a:r>
                <a:rPr lang="en-US" sz="898" b="1">
                  <a:solidFill>
                    <a:srgbClr val="000000"/>
                  </a:solidFill>
                  <a:latin typeface="Arial"/>
                  <a:cs typeface="Arial"/>
                </a:rPr>
                <a:t>Recommended norms</a:t>
              </a:r>
            </a:p>
          </p:txBody>
        </p:sp>
        <p:cxnSp>
          <p:nvCxnSpPr>
            <p:cNvPr id="29" name="btfpColumnHeaderBoxLine174532"/>
            <p:cNvCxnSpPr/>
            <p:nvPr>
              <p:custDataLst>
                <p:tags r:id="rId47"/>
              </p:custDataLst>
            </p:nvPr>
          </p:nvCxnSpPr>
          <p:spPr bwMode="gray">
            <a:xfrm>
              <a:off x="8314268" y="4373563"/>
              <a:ext cx="3547533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btfpBulletedList143985"/>
          <p:cNvSpPr/>
          <p:nvPr>
            <p:custDataLst>
              <p:tags r:id="rId11"/>
            </p:custDataLst>
          </p:nvPr>
        </p:nvSpPr>
        <p:spPr>
          <a:xfrm>
            <a:off x="3734090" y="4039526"/>
            <a:ext cx="1589449" cy="905712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5928" tIns="15928" rIns="1593" bIns="15928" rtlCol="0" anchor="t"/>
          <a:lstStyle/>
          <a:p>
            <a:pPr defTabSz="399051" fontAlgn="auto">
              <a:spcBef>
                <a:spcPts val="338"/>
              </a:spcBef>
              <a:spcAft>
                <a:spcPts val="0"/>
              </a:spcAft>
            </a:pPr>
            <a:r>
              <a:rPr lang="en-US" sz="589" b="1" i="1" dirty="0">
                <a:solidFill>
                  <a:srgbClr val="ABAD23"/>
                </a:solidFill>
                <a:latin typeface="Arial"/>
                <a:cs typeface="Arial"/>
              </a:rPr>
              <a:t>PMO (Maike)</a:t>
            </a:r>
          </a:p>
          <a:p>
            <a:pPr marL="171450" indent="-171450" defTabSz="399051" fontAlgn="auto">
              <a:spcBef>
                <a:spcPts val="338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589" dirty="0">
                <a:solidFill>
                  <a:srgbClr val="000000"/>
                </a:solidFill>
                <a:latin typeface="Arial"/>
                <a:cs typeface="Arial"/>
              </a:rPr>
              <a:t>Maintain Process &amp; Timing</a:t>
            </a:r>
          </a:p>
          <a:p>
            <a:pPr marL="171450" indent="-171450" defTabSz="399051" fontAlgn="auto">
              <a:spcBef>
                <a:spcPts val="338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589" dirty="0">
                <a:solidFill>
                  <a:srgbClr val="000000"/>
                </a:solidFill>
                <a:latin typeface="Arial"/>
                <a:cs typeface="Arial"/>
              </a:rPr>
              <a:t>Review progress against Target and check completion of deliverables </a:t>
            </a:r>
          </a:p>
          <a:p>
            <a:pPr marL="171450" indent="-171450" defTabSz="399051" fontAlgn="auto">
              <a:spcBef>
                <a:spcPts val="338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589" dirty="0">
                <a:solidFill>
                  <a:srgbClr val="000000"/>
                </a:solidFill>
                <a:latin typeface="Arial"/>
                <a:cs typeface="Arial"/>
              </a:rPr>
              <a:t>Share best practices</a:t>
            </a:r>
          </a:p>
        </p:txBody>
      </p:sp>
      <p:cxnSp>
        <p:nvCxnSpPr>
          <p:cNvPr id="39" name="Straight Connector 38"/>
          <p:cNvCxnSpPr>
            <a:cxnSpLocks/>
            <a:stCxn id="38" idx="1"/>
          </p:cNvCxnSpPr>
          <p:nvPr>
            <p:custDataLst>
              <p:tags r:id="rId12"/>
            </p:custDataLst>
          </p:nvPr>
        </p:nvCxnSpPr>
        <p:spPr>
          <a:xfrm flipH="1" flipV="1">
            <a:off x="3629909" y="3801342"/>
            <a:ext cx="104181" cy="691040"/>
          </a:xfrm>
          <a:prstGeom prst="line">
            <a:avLst/>
          </a:prstGeom>
          <a:ln w="9525" cap="flat" cmpd="sng" algn="ctr">
            <a:solidFill>
              <a:srgbClr val="ABAD23"/>
            </a:solidFill>
            <a:prstDash val="solid"/>
            <a:miter lim="800000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Group 4"/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2870455" y="3045201"/>
            <a:ext cx="160979" cy="221794"/>
            <a:chOff x="1436" y="1786"/>
            <a:chExt cx="135" cy="186"/>
          </a:xfrm>
          <a:solidFill>
            <a:schemeClr val="accent3"/>
          </a:solidFill>
        </p:grpSpPr>
        <p:sp>
          <p:nvSpPr>
            <p:cNvPr id="58" name="Oval 5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>
              <a:off x="1464" y="1786"/>
              <a:ext cx="79" cy="79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0299" tIns="25150" rIns="50299" bIns="25150" numCol="1" anchor="t" anchorCtr="0" compatLnSpc="1">
              <a:prstTxWarp prst="textNoShape">
                <a:avLst/>
              </a:prstTxWarp>
            </a:bodyPr>
            <a:lstStyle/>
            <a:p>
              <a:pPr marL="99763" indent="-99763" defTabSz="502937" fontAlgn="auto">
                <a:spcBef>
                  <a:spcPts val="674"/>
                </a:spcBef>
                <a:spcAft>
                  <a:spcPts val="0"/>
                </a:spcAft>
                <a:buFontTx/>
                <a:buChar char="•"/>
                <a:defRPr/>
              </a:pPr>
              <a:endParaRPr lang="en-AU" sz="99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59" name="Freeform 6"/>
            <p:cNvSpPr/>
            <p:nvPr>
              <p:custDataLst>
                <p:tags r:id="rId45"/>
              </p:custDataLst>
            </p:nvPr>
          </p:nvSpPr>
          <p:spPr bwMode="auto">
            <a:xfrm>
              <a:off x="1436" y="1868"/>
              <a:ext cx="135" cy="104"/>
            </a:xfrm>
            <a:custGeom>
              <a:avLst/>
              <a:gdLst>
                <a:gd name="T0" fmla="*/ 384 w 615"/>
                <a:gd name="T1" fmla="*/ 0 h 476"/>
                <a:gd name="T2" fmla="*/ 231 w 615"/>
                <a:gd name="T3" fmla="*/ 0 h 476"/>
                <a:gd name="T4" fmla="*/ 0 w 615"/>
                <a:gd name="T5" fmla="*/ 231 h 476"/>
                <a:gd name="T6" fmla="*/ 0 w 615"/>
                <a:gd name="T7" fmla="*/ 418 h 476"/>
                <a:gd name="T8" fmla="*/ 1 w 615"/>
                <a:gd name="T9" fmla="*/ 421 h 476"/>
                <a:gd name="T10" fmla="*/ 14 w 615"/>
                <a:gd name="T11" fmla="*/ 425 h 476"/>
                <a:gd name="T12" fmla="*/ 328 w 615"/>
                <a:gd name="T13" fmla="*/ 476 h 476"/>
                <a:gd name="T14" fmla="*/ 602 w 615"/>
                <a:gd name="T15" fmla="*/ 424 h 476"/>
                <a:gd name="T16" fmla="*/ 614 w 615"/>
                <a:gd name="T17" fmla="*/ 418 h 476"/>
                <a:gd name="T18" fmla="*/ 615 w 615"/>
                <a:gd name="T19" fmla="*/ 418 h 476"/>
                <a:gd name="T20" fmla="*/ 615 w 615"/>
                <a:gd name="T21" fmla="*/ 231 h 476"/>
                <a:gd name="T22" fmla="*/ 384 w 615"/>
                <a:gd name="T23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5" h="476">
                  <a:moveTo>
                    <a:pt x="384" y="0"/>
                  </a:moveTo>
                  <a:cubicBezTo>
                    <a:pt x="231" y="0"/>
                    <a:pt x="231" y="0"/>
                    <a:pt x="231" y="0"/>
                  </a:cubicBezTo>
                  <a:cubicBezTo>
                    <a:pt x="104" y="0"/>
                    <a:pt x="0" y="104"/>
                    <a:pt x="0" y="231"/>
                  </a:cubicBezTo>
                  <a:cubicBezTo>
                    <a:pt x="0" y="418"/>
                    <a:pt x="0" y="418"/>
                    <a:pt x="0" y="418"/>
                  </a:cubicBezTo>
                  <a:cubicBezTo>
                    <a:pt x="1" y="421"/>
                    <a:pt x="1" y="421"/>
                    <a:pt x="1" y="421"/>
                  </a:cubicBezTo>
                  <a:cubicBezTo>
                    <a:pt x="14" y="425"/>
                    <a:pt x="14" y="425"/>
                    <a:pt x="14" y="425"/>
                  </a:cubicBezTo>
                  <a:cubicBezTo>
                    <a:pt x="135" y="463"/>
                    <a:pt x="241" y="476"/>
                    <a:pt x="328" y="476"/>
                  </a:cubicBezTo>
                  <a:cubicBezTo>
                    <a:pt x="497" y="476"/>
                    <a:pt x="596" y="428"/>
                    <a:pt x="602" y="424"/>
                  </a:cubicBezTo>
                  <a:cubicBezTo>
                    <a:pt x="614" y="418"/>
                    <a:pt x="614" y="418"/>
                    <a:pt x="614" y="418"/>
                  </a:cubicBezTo>
                  <a:cubicBezTo>
                    <a:pt x="615" y="418"/>
                    <a:pt x="615" y="418"/>
                    <a:pt x="615" y="418"/>
                  </a:cubicBezTo>
                  <a:cubicBezTo>
                    <a:pt x="615" y="231"/>
                    <a:pt x="615" y="231"/>
                    <a:pt x="615" y="231"/>
                  </a:cubicBezTo>
                  <a:cubicBezTo>
                    <a:pt x="615" y="104"/>
                    <a:pt x="511" y="0"/>
                    <a:pt x="384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0299" tIns="25150" rIns="50299" bIns="25150" numCol="1" anchor="t" anchorCtr="0" compatLnSpc="1">
              <a:prstTxWarp prst="textNoShape">
                <a:avLst/>
              </a:prstTxWarp>
            </a:bodyPr>
            <a:lstStyle/>
            <a:p>
              <a:pPr marL="99763" indent="-99763" defTabSz="502937" fontAlgn="auto">
                <a:spcBef>
                  <a:spcPts val="674"/>
                </a:spcBef>
                <a:spcAft>
                  <a:spcPts val="0"/>
                </a:spcAft>
                <a:buFontTx/>
                <a:buChar char="•"/>
                <a:defRPr/>
              </a:pPr>
              <a:endParaRPr lang="en-AU" sz="99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60" name="Group 4"/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2870455" y="3325462"/>
            <a:ext cx="160979" cy="221794"/>
            <a:chOff x="1436" y="1786"/>
            <a:chExt cx="135" cy="186"/>
          </a:xfrm>
          <a:solidFill>
            <a:schemeClr val="accent4"/>
          </a:solidFill>
        </p:grpSpPr>
        <p:sp>
          <p:nvSpPr>
            <p:cNvPr id="61" name="Oval 5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auto">
            <a:xfrm>
              <a:off x="1464" y="1786"/>
              <a:ext cx="79" cy="79"/>
            </a:xfrm>
            <a:prstGeom prst="ellipse">
              <a:avLst/>
            </a:prstGeom>
            <a:solidFill>
              <a:srgbClr val="5B8F22"/>
            </a:solidFill>
            <a:ln w="9525" cap="flat" cmpd="sng" algn="ctr">
              <a:solidFill>
                <a:srgbClr val="5B8F2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50299" tIns="25150" rIns="50299" bIns="25150" numCol="1" anchor="t" anchorCtr="0" compatLnSpc="1">
              <a:prstTxWarp prst="textNoShape">
                <a:avLst/>
              </a:prstTxWarp>
            </a:bodyPr>
            <a:lstStyle/>
            <a:p>
              <a:pPr marL="99763" indent="-99763" defTabSz="502937" fontAlgn="auto">
                <a:spcBef>
                  <a:spcPts val="674"/>
                </a:spcBef>
                <a:spcAft>
                  <a:spcPts val="0"/>
                </a:spcAft>
                <a:buFontTx/>
                <a:buChar char="•"/>
                <a:defRPr/>
              </a:pPr>
              <a:endParaRPr lang="en-AU" sz="99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63" name="Freeform 6"/>
            <p:cNvSpPr/>
            <p:nvPr>
              <p:custDataLst>
                <p:tags r:id="rId43"/>
              </p:custDataLst>
            </p:nvPr>
          </p:nvSpPr>
          <p:spPr bwMode="auto">
            <a:xfrm>
              <a:off x="1436" y="1868"/>
              <a:ext cx="135" cy="104"/>
            </a:xfrm>
            <a:custGeom>
              <a:avLst/>
              <a:gdLst>
                <a:gd name="T0" fmla="*/ 384 w 615"/>
                <a:gd name="T1" fmla="*/ 0 h 476"/>
                <a:gd name="T2" fmla="*/ 231 w 615"/>
                <a:gd name="T3" fmla="*/ 0 h 476"/>
                <a:gd name="T4" fmla="*/ 0 w 615"/>
                <a:gd name="T5" fmla="*/ 231 h 476"/>
                <a:gd name="T6" fmla="*/ 0 w 615"/>
                <a:gd name="T7" fmla="*/ 418 h 476"/>
                <a:gd name="T8" fmla="*/ 1 w 615"/>
                <a:gd name="T9" fmla="*/ 421 h 476"/>
                <a:gd name="T10" fmla="*/ 14 w 615"/>
                <a:gd name="T11" fmla="*/ 425 h 476"/>
                <a:gd name="T12" fmla="*/ 328 w 615"/>
                <a:gd name="T13" fmla="*/ 476 h 476"/>
                <a:gd name="T14" fmla="*/ 602 w 615"/>
                <a:gd name="T15" fmla="*/ 424 h 476"/>
                <a:gd name="T16" fmla="*/ 614 w 615"/>
                <a:gd name="T17" fmla="*/ 418 h 476"/>
                <a:gd name="T18" fmla="*/ 615 w 615"/>
                <a:gd name="T19" fmla="*/ 418 h 476"/>
                <a:gd name="T20" fmla="*/ 615 w 615"/>
                <a:gd name="T21" fmla="*/ 231 h 476"/>
                <a:gd name="T22" fmla="*/ 384 w 615"/>
                <a:gd name="T23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5" h="476">
                  <a:moveTo>
                    <a:pt x="384" y="0"/>
                  </a:moveTo>
                  <a:cubicBezTo>
                    <a:pt x="231" y="0"/>
                    <a:pt x="231" y="0"/>
                    <a:pt x="231" y="0"/>
                  </a:cubicBezTo>
                  <a:cubicBezTo>
                    <a:pt x="104" y="0"/>
                    <a:pt x="0" y="104"/>
                    <a:pt x="0" y="231"/>
                  </a:cubicBezTo>
                  <a:cubicBezTo>
                    <a:pt x="0" y="418"/>
                    <a:pt x="0" y="418"/>
                    <a:pt x="0" y="418"/>
                  </a:cubicBezTo>
                  <a:cubicBezTo>
                    <a:pt x="1" y="421"/>
                    <a:pt x="1" y="421"/>
                    <a:pt x="1" y="421"/>
                  </a:cubicBezTo>
                  <a:cubicBezTo>
                    <a:pt x="14" y="425"/>
                    <a:pt x="14" y="425"/>
                    <a:pt x="14" y="425"/>
                  </a:cubicBezTo>
                  <a:cubicBezTo>
                    <a:pt x="135" y="463"/>
                    <a:pt x="241" y="476"/>
                    <a:pt x="328" y="476"/>
                  </a:cubicBezTo>
                  <a:cubicBezTo>
                    <a:pt x="497" y="476"/>
                    <a:pt x="596" y="428"/>
                    <a:pt x="602" y="424"/>
                  </a:cubicBezTo>
                  <a:cubicBezTo>
                    <a:pt x="614" y="418"/>
                    <a:pt x="614" y="418"/>
                    <a:pt x="614" y="418"/>
                  </a:cubicBezTo>
                  <a:cubicBezTo>
                    <a:pt x="615" y="418"/>
                    <a:pt x="615" y="418"/>
                    <a:pt x="615" y="418"/>
                  </a:cubicBezTo>
                  <a:cubicBezTo>
                    <a:pt x="615" y="231"/>
                    <a:pt x="615" y="231"/>
                    <a:pt x="615" y="231"/>
                  </a:cubicBezTo>
                  <a:cubicBezTo>
                    <a:pt x="615" y="104"/>
                    <a:pt x="511" y="0"/>
                    <a:pt x="384" y="0"/>
                  </a:cubicBezTo>
                  <a:close/>
                </a:path>
              </a:pathLst>
            </a:custGeom>
            <a:solidFill>
              <a:srgbClr val="5B8F22"/>
            </a:solidFill>
            <a:ln w="9525" cap="flat" cmpd="sng" algn="ctr">
              <a:solidFill>
                <a:srgbClr val="5B8F2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50299" tIns="25150" rIns="50299" bIns="25150" numCol="1" anchor="t" anchorCtr="0" compatLnSpc="1">
              <a:prstTxWarp prst="textNoShape">
                <a:avLst/>
              </a:prstTxWarp>
            </a:bodyPr>
            <a:lstStyle/>
            <a:p>
              <a:pPr marL="99763" indent="-99763" defTabSz="502937" fontAlgn="auto">
                <a:spcBef>
                  <a:spcPts val="674"/>
                </a:spcBef>
                <a:spcAft>
                  <a:spcPts val="0"/>
                </a:spcAft>
                <a:buFontTx/>
                <a:buChar char="•"/>
                <a:defRPr/>
              </a:pPr>
              <a:endParaRPr lang="en-AU" sz="99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64" name="Group 4"/>
          <p:cNvGrpSpPr>
            <a:grpSpLocks noChangeAspect="1"/>
          </p:cNvGrpSpPr>
          <p:nvPr>
            <p:custDataLst>
              <p:tags r:id="rId15"/>
            </p:custDataLst>
          </p:nvPr>
        </p:nvGrpSpPr>
        <p:grpSpPr>
          <a:xfrm>
            <a:off x="2870455" y="3605723"/>
            <a:ext cx="160979" cy="221794"/>
            <a:chOff x="1436" y="1786"/>
            <a:chExt cx="135" cy="186"/>
          </a:xfrm>
          <a:solidFill>
            <a:schemeClr val="accent3"/>
          </a:solidFill>
        </p:grpSpPr>
        <p:sp>
          <p:nvSpPr>
            <p:cNvPr id="65" name="Oval 5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1464" y="1786"/>
              <a:ext cx="79" cy="79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0299" tIns="25150" rIns="50299" bIns="25150" numCol="1" anchor="t" anchorCtr="0" compatLnSpc="1">
              <a:prstTxWarp prst="textNoShape">
                <a:avLst/>
              </a:prstTxWarp>
            </a:bodyPr>
            <a:lstStyle/>
            <a:p>
              <a:pPr marL="99763" indent="-99763" defTabSz="502937" fontAlgn="auto">
                <a:spcBef>
                  <a:spcPts val="674"/>
                </a:spcBef>
                <a:spcAft>
                  <a:spcPts val="0"/>
                </a:spcAft>
                <a:buFontTx/>
                <a:buChar char="•"/>
                <a:defRPr/>
              </a:pPr>
              <a:endParaRPr lang="en-AU" sz="99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66" name="Freeform 6"/>
            <p:cNvSpPr/>
            <p:nvPr>
              <p:custDataLst>
                <p:tags r:id="rId41"/>
              </p:custDataLst>
            </p:nvPr>
          </p:nvSpPr>
          <p:spPr bwMode="auto">
            <a:xfrm>
              <a:off x="1436" y="1868"/>
              <a:ext cx="135" cy="104"/>
            </a:xfrm>
            <a:custGeom>
              <a:avLst/>
              <a:gdLst>
                <a:gd name="T0" fmla="*/ 384 w 615"/>
                <a:gd name="T1" fmla="*/ 0 h 476"/>
                <a:gd name="T2" fmla="*/ 231 w 615"/>
                <a:gd name="T3" fmla="*/ 0 h 476"/>
                <a:gd name="T4" fmla="*/ 0 w 615"/>
                <a:gd name="T5" fmla="*/ 231 h 476"/>
                <a:gd name="T6" fmla="*/ 0 w 615"/>
                <a:gd name="T7" fmla="*/ 418 h 476"/>
                <a:gd name="T8" fmla="*/ 1 w 615"/>
                <a:gd name="T9" fmla="*/ 421 h 476"/>
                <a:gd name="T10" fmla="*/ 14 w 615"/>
                <a:gd name="T11" fmla="*/ 425 h 476"/>
                <a:gd name="T12" fmla="*/ 328 w 615"/>
                <a:gd name="T13" fmla="*/ 476 h 476"/>
                <a:gd name="T14" fmla="*/ 602 w 615"/>
                <a:gd name="T15" fmla="*/ 424 h 476"/>
                <a:gd name="T16" fmla="*/ 614 w 615"/>
                <a:gd name="T17" fmla="*/ 418 h 476"/>
                <a:gd name="T18" fmla="*/ 615 w 615"/>
                <a:gd name="T19" fmla="*/ 418 h 476"/>
                <a:gd name="T20" fmla="*/ 615 w 615"/>
                <a:gd name="T21" fmla="*/ 231 h 476"/>
                <a:gd name="T22" fmla="*/ 384 w 615"/>
                <a:gd name="T23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5" h="476">
                  <a:moveTo>
                    <a:pt x="384" y="0"/>
                  </a:moveTo>
                  <a:cubicBezTo>
                    <a:pt x="231" y="0"/>
                    <a:pt x="231" y="0"/>
                    <a:pt x="231" y="0"/>
                  </a:cubicBezTo>
                  <a:cubicBezTo>
                    <a:pt x="104" y="0"/>
                    <a:pt x="0" y="104"/>
                    <a:pt x="0" y="231"/>
                  </a:cubicBezTo>
                  <a:cubicBezTo>
                    <a:pt x="0" y="418"/>
                    <a:pt x="0" y="418"/>
                    <a:pt x="0" y="418"/>
                  </a:cubicBezTo>
                  <a:cubicBezTo>
                    <a:pt x="1" y="421"/>
                    <a:pt x="1" y="421"/>
                    <a:pt x="1" y="421"/>
                  </a:cubicBezTo>
                  <a:cubicBezTo>
                    <a:pt x="14" y="425"/>
                    <a:pt x="14" y="425"/>
                    <a:pt x="14" y="425"/>
                  </a:cubicBezTo>
                  <a:cubicBezTo>
                    <a:pt x="135" y="463"/>
                    <a:pt x="241" y="476"/>
                    <a:pt x="328" y="476"/>
                  </a:cubicBezTo>
                  <a:cubicBezTo>
                    <a:pt x="497" y="476"/>
                    <a:pt x="596" y="428"/>
                    <a:pt x="602" y="424"/>
                  </a:cubicBezTo>
                  <a:cubicBezTo>
                    <a:pt x="614" y="418"/>
                    <a:pt x="614" y="418"/>
                    <a:pt x="614" y="418"/>
                  </a:cubicBezTo>
                  <a:cubicBezTo>
                    <a:pt x="615" y="418"/>
                    <a:pt x="615" y="418"/>
                    <a:pt x="615" y="418"/>
                  </a:cubicBezTo>
                  <a:cubicBezTo>
                    <a:pt x="615" y="231"/>
                    <a:pt x="615" y="231"/>
                    <a:pt x="615" y="231"/>
                  </a:cubicBezTo>
                  <a:cubicBezTo>
                    <a:pt x="615" y="104"/>
                    <a:pt x="511" y="0"/>
                    <a:pt x="384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0299" tIns="25150" rIns="50299" bIns="25150" numCol="1" anchor="t" anchorCtr="0" compatLnSpc="1">
              <a:prstTxWarp prst="textNoShape">
                <a:avLst/>
              </a:prstTxWarp>
            </a:bodyPr>
            <a:lstStyle/>
            <a:p>
              <a:pPr marL="99763" indent="-99763" defTabSz="502937" fontAlgn="auto">
                <a:spcBef>
                  <a:spcPts val="674"/>
                </a:spcBef>
                <a:spcAft>
                  <a:spcPts val="0"/>
                </a:spcAft>
                <a:buFontTx/>
                <a:buChar char="•"/>
                <a:defRPr/>
              </a:pPr>
              <a:endParaRPr lang="en-AU" sz="99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67" name="Group 4"/>
          <p:cNvGrpSpPr>
            <a:grpSpLocks noChangeAspect="1"/>
          </p:cNvGrpSpPr>
          <p:nvPr>
            <p:custDataLst>
              <p:tags r:id="rId16"/>
            </p:custDataLst>
          </p:nvPr>
        </p:nvGrpSpPr>
        <p:grpSpPr>
          <a:xfrm>
            <a:off x="3417224" y="3045201"/>
            <a:ext cx="160979" cy="221794"/>
            <a:chOff x="1436" y="1786"/>
            <a:chExt cx="135" cy="186"/>
          </a:xfrm>
          <a:solidFill>
            <a:schemeClr val="accent3"/>
          </a:solidFill>
        </p:grpSpPr>
        <p:sp>
          <p:nvSpPr>
            <p:cNvPr id="68" name="Oval 5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1464" y="1786"/>
              <a:ext cx="79" cy="79"/>
            </a:xfrm>
            <a:prstGeom prst="ellipse">
              <a:avLst/>
            </a:prstGeom>
            <a:solidFill>
              <a:srgbClr val="197B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0299" tIns="25150" rIns="50299" bIns="25150" numCol="1" anchor="t" anchorCtr="0" compatLnSpc="1">
              <a:prstTxWarp prst="textNoShape">
                <a:avLst/>
              </a:prstTxWarp>
            </a:bodyPr>
            <a:lstStyle/>
            <a:p>
              <a:pPr marL="99763" indent="-99763" defTabSz="502937" fontAlgn="auto">
                <a:spcBef>
                  <a:spcPts val="674"/>
                </a:spcBef>
                <a:spcAft>
                  <a:spcPts val="0"/>
                </a:spcAft>
                <a:buFontTx/>
                <a:buChar char="•"/>
                <a:defRPr/>
              </a:pPr>
              <a:endParaRPr lang="en-AU" sz="99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69" name="Freeform 6"/>
            <p:cNvSpPr/>
            <p:nvPr>
              <p:custDataLst>
                <p:tags r:id="rId39"/>
              </p:custDataLst>
            </p:nvPr>
          </p:nvSpPr>
          <p:spPr bwMode="auto">
            <a:xfrm>
              <a:off x="1436" y="1868"/>
              <a:ext cx="135" cy="104"/>
            </a:xfrm>
            <a:custGeom>
              <a:avLst/>
              <a:gdLst>
                <a:gd name="T0" fmla="*/ 384 w 615"/>
                <a:gd name="T1" fmla="*/ 0 h 476"/>
                <a:gd name="T2" fmla="*/ 231 w 615"/>
                <a:gd name="T3" fmla="*/ 0 h 476"/>
                <a:gd name="T4" fmla="*/ 0 w 615"/>
                <a:gd name="T5" fmla="*/ 231 h 476"/>
                <a:gd name="T6" fmla="*/ 0 w 615"/>
                <a:gd name="T7" fmla="*/ 418 h 476"/>
                <a:gd name="T8" fmla="*/ 1 w 615"/>
                <a:gd name="T9" fmla="*/ 421 h 476"/>
                <a:gd name="T10" fmla="*/ 14 w 615"/>
                <a:gd name="T11" fmla="*/ 425 h 476"/>
                <a:gd name="T12" fmla="*/ 328 w 615"/>
                <a:gd name="T13" fmla="*/ 476 h 476"/>
                <a:gd name="T14" fmla="*/ 602 w 615"/>
                <a:gd name="T15" fmla="*/ 424 h 476"/>
                <a:gd name="T16" fmla="*/ 614 w 615"/>
                <a:gd name="T17" fmla="*/ 418 h 476"/>
                <a:gd name="T18" fmla="*/ 615 w 615"/>
                <a:gd name="T19" fmla="*/ 418 h 476"/>
                <a:gd name="T20" fmla="*/ 615 w 615"/>
                <a:gd name="T21" fmla="*/ 231 h 476"/>
                <a:gd name="T22" fmla="*/ 384 w 615"/>
                <a:gd name="T23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5" h="476">
                  <a:moveTo>
                    <a:pt x="384" y="0"/>
                  </a:moveTo>
                  <a:cubicBezTo>
                    <a:pt x="231" y="0"/>
                    <a:pt x="231" y="0"/>
                    <a:pt x="231" y="0"/>
                  </a:cubicBezTo>
                  <a:cubicBezTo>
                    <a:pt x="104" y="0"/>
                    <a:pt x="0" y="104"/>
                    <a:pt x="0" y="231"/>
                  </a:cubicBezTo>
                  <a:cubicBezTo>
                    <a:pt x="0" y="418"/>
                    <a:pt x="0" y="418"/>
                    <a:pt x="0" y="418"/>
                  </a:cubicBezTo>
                  <a:cubicBezTo>
                    <a:pt x="1" y="421"/>
                    <a:pt x="1" y="421"/>
                    <a:pt x="1" y="421"/>
                  </a:cubicBezTo>
                  <a:cubicBezTo>
                    <a:pt x="14" y="425"/>
                    <a:pt x="14" y="425"/>
                    <a:pt x="14" y="425"/>
                  </a:cubicBezTo>
                  <a:cubicBezTo>
                    <a:pt x="135" y="463"/>
                    <a:pt x="241" y="476"/>
                    <a:pt x="328" y="476"/>
                  </a:cubicBezTo>
                  <a:cubicBezTo>
                    <a:pt x="497" y="476"/>
                    <a:pt x="596" y="428"/>
                    <a:pt x="602" y="424"/>
                  </a:cubicBezTo>
                  <a:cubicBezTo>
                    <a:pt x="614" y="418"/>
                    <a:pt x="614" y="418"/>
                    <a:pt x="614" y="418"/>
                  </a:cubicBezTo>
                  <a:cubicBezTo>
                    <a:pt x="615" y="418"/>
                    <a:pt x="615" y="418"/>
                    <a:pt x="615" y="418"/>
                  </a:cubicBezTo>
                  <a:cubicBezTo>
                    <a:pt x="615" y="231"/>
                    <a:pt x="615" y="231"/>
                    <a:pt x="615" y="231"/>
                  </a:cubicBezTo>
                  <a:cubicBezTo>
                    <a:pt x="615" y="104"/>
                    <a:pt x="511" y="0"/>
                    <a:pt x="384" y="0"/>
                  </a:cubicBezTo>
                  <a:close/>
                </a:path>
              </a:pathLst>
            </a:custGeom>
            <a:solidFill>
              <a:srgbClr val="197B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0299" tIns="25150" rIns="50299" bIns="25150" numCol="1" anchor="t" anchorCtr="0" compatLnSpc="1">
              <a:prstTxWarp prst="textNoShape">
                <a:avLst/>
              </a:prstTxWarp>
            </a:bodyPr>
            <a:lstStyle/>
            <a:p>
              <a:pPr marL="99763" indent="-99763" defTabSz="502937" fontAlgn="auto">
                <a:spcBef>
                  <a:spcPts val="674"/>
                </a:spcBef>
                <a:spcAft>
                  <a:spcPts val="0"/>
                </a:spcAft>
                <a:buFontTx/>
                <a:buChar char="•"/>
                <a:defRPr/>
              </a:pPr>
              <a:endParaRPr lang="en-AU" sz="99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70" name="Group 4"/>
          <p:cNvGrpSpPr>
            <a:grpSpLocks noChangeAspect="1"/>
          </p:cNvGrpSpPr>
          <p:nvPr>
            <p:custDataLst>
              <p:tags r:id="rId17"/>
            </p:custDataLst>
          </p:nvPr>
        </p:nvGrpSpPr>
        <p:grpSpPr>
          <a:xfrm>
            <a:off x="3417224" y="3325456"/>
            <a:ext cx="160979" cy="221793"/>
            <a:chOff x="1436" y="1786"/>
            <a:chExt cx="135" cy="186"/>
          </a:xfrm>
          <a:solidFill>
            <a:schemeClr val="accent5"/>
          </a:solidFill>
        </p:grpSpPr>
        <p:sp>
          <p:nvSpPr>
            <p:cNvPr id="71" name="Oval 5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1464" y="1786"/>
              <a:ext cx="79" cy="79"/>
            </a:xfrm>
            <a:prstGeom prst="ellipse">
              <a:avLst/>
            </a:pr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50299" tIns="25150" rIns="50299" bIns="25150" numCol="1" anchor="t" anchorCtr="0" compatLnSpc="1">
              <a:prstTxWarp prst="textNoShape">
                <a:avLst/>
              </a:prstTxWarp>
            </a:bodyPr>
            <a:lstStyle/>
            <a:p>
              <a:pPr marL="99763" indent="-99763" defTabSz="502937" fontAlgn="auto">
                <a:spcBef>
                  <a:spcPts val="674"/>
                </a:spcBef>
                <a:spcAft>
                  <a:spcPts val="0"/>
                </a:spcAft>
                <a:buFontTx/>
                <a:buChar char="•"/>
                <a:defRPr/>
              </a:pPr>
              <a:endParaRPr lang="en-AU" sz="99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72" name="Freeform 6"/>
            <p:cNvSpPr/>
            <p:nvPr>
              <p:custDataLst>
                <p:tags r:id="rId37"/>
              </p:custDataLst>
            </p:nvPr>
          </p:nvSpPr>
          <p:spPr bwMode="auto">
            <a:xfrm>
              <a:off x="1436" y="1868"/>
              <a:ext cx="135" cy="104"/>
            </a:xfrm>
            <a:custGeom>
              <a:avLst/>
              <a:gdLst>
                <a:gd name="T0" fmla="*/ 384 w 615"/>
                <a:gd name="T1" fmla="*/ 0 h 476"/>
                <a:gd name="T2" fmla="*/ 231 w 615"/>
                <a:gd name="T3" fmla="*/ 0 h 476"/>
                <a:gd name="T4" fmla="*/ 0 w 615"/>
                <a:gd name="T5" fmla="*/ 231 h 476"/>
                <a:gd name="T6" fmla="*/ 0 w 615"/>
                <a:gd name="T7" fmla="*/ 418 h 476"/>
                <a:gd name="T8" fmla="*/ 1 w 615"/>
                <a:gd name="T9" fmla="*/ 421 h 476"/>
                <a:gd name="T10" fmla="*/ 14 w 615"/>
                <a:gd name="T11" fmla="*/ 425 h 476"/>
                <a:gd name="T12" fmla="*/ 328 w 615"/>
                <a:gd name="T13" fmla="*/ 476 h 476"/>
                <a:gd name="T14" fmla="*/ 602 w 615"/>
                <a:gd name="T15" fmla="*/ 424 h 476"/>
                <a:gd name="T16" fmla="*/ 614 w 615"/>
                <a:gd name="T17" fmla="*/ 418 h 476"/>
                <a:gd name="T18" fmla="*/ 615 w 615"/>
                <a:gd name="T19" fmla="*/ 418 h 476"/>
                <a:gd name="T20" fmla="*/ 615 w 615"/>
                <a:gd name="T21" fmla="*/ 231 h 476"/>
                <a:gd name="T22" fmla="*/ 384 w 615"/>
                <a:gd name="T23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5" h="476">
                  <a:moveTo>
                    <a:pt x="384" y="0"/>
                  </a:moveTo>
                  <a:cubicBezTo>
                    <a:pt x="231" y="0"/>
                    <a:pt x="231" y="0"/>
                    <a:pt x="231" y="0"/>
                  </a:cubicBezTo>
                  <a:cubicBezTo>
                    <a:pt x="104" y="0"/>
                    <a:pt x="0" y="104"/>
                    <a:pt x="0" y="231"/>
                  </a:cubicBezTo>
                  <a:cubicBezTo>
                    <a:pt x="0" y="418"/>
                    <a:pt x="0" y="418"/>
                    <a:pt x="0" y="418"/>
                  </a:cubicBezTo>
                  <a:cubicBezTo>
                    <a:pt x="1" y="421"/>
                    <a:pt x="1" y="421"/>
                    <a:pt x="1" y="421"/>
                  </a:cubicBezTo>
                  <a:cubicBezTo>
                    <a:pt x="14" y="425"/>
                    <a:pt x="14" y="425"/>
                    <a:pt x="14" y="425"/>
                  </a:cubicBezTo>
                  <a:cubicBezTo>
                    <a:pt x="135" y="463"/>
                    <a:pt x="241" y="476"/>
                    <a:pt x="328" y="476"/>
                  </a:cubicBezTo>
                  <a:cubicBezTo>
                    <a:pt x="497" y="476"/>
                    <a:pt x="596" y="428"/>
                    <a:pt x="602" y="424"/>
                  </a:cubicBezTo>
                  <a:cubicBezTo>
                    <a:pt x="614" y="418"/>
                    <a:pt x="614" y="418"/>
                    <a:pt x="614" y="418"/>
                  </a:cubicBezTo>
                  <a:cubicBezTo>
                    <a:pt x="615" y="418"/>
                    <a:pt x="615" y="418"/>
                    <a:pt x="615" y="418"/>
                  </a:cubicBezTo>
                  <a:cubicBezTo>
                    <a:pt x="615" y="231"/>
                    <a:pt x="615" y="231"/>
                    <a:pt x="615" y="231"/>
                  </a:cubicBezTo>
                  <a:cubicBezTo>
                    <a:pt x="615" y="104"/>
                    <a:pt x="511" y="0"/>
                    <a:pt x="384" y="0"/>
                  </a:cubicBezTo>
                  <a:close/>
                </a:path>
              </a:pathLst>
            </a:cu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50299" tIns="25150" rIns="50299" bIns="25150" numCol="1" anchor="t" anchorCtr="0" compatLnSpc="1">
              <a:prstTxWarp prst="textNoShape">
                <a:avLst/>
              </a:prstTxWarp>
            </a:bodyPr>
            <a:lstStyle/>
            <a:p>
              <a:pPr marL="99763" indent="-99763" defTabSz="502937" fontAlgn="auto">
                <a:spcBef>
                  <a:spcPts val="674"/>
                </a:spcBef>
                <a:spcAft>
                  <a:spcPts val="0"/>
                </a:spcAft>
                <a:buFontTx/>
                <a:buChar char="•"/>
                <a:defRPr/>
              </a:pPr>
              <a:endParaRPr lang="en-AU" sz="99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73" name="Group 4"/>
          <p:cNvGrpSpPr>
            <a:grpSpLocks noChangeAspect="1"/>
          </p:cNvGrpSpPr>
          <p:nvPr>
            <p:custDataLst>
              <p:tags r:id="rId18"/>
            </p:custDataLst>
          </p:nvPr>
        </p:nvGrpSpPr>
        <p:grpSpPr>
          <a:xfrm>
            <a:off x="3417224" y="3605723"/>
            <a:ext cx="160979" cy="221794"/>
            <a:chOff x="1436" y="1786"/>
            <a:chExt cx="135" cy="186"/>
          </a:xfrm>
          <a:solidFill>
            <a:schemeClr val="accent3"/>
          </a:solidFill>
        </p:grpSpPr>
        <p:sp>
          <p:nvSpPr>
            <p:cNvPr id="74" name="Oval 5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1464" y="1786"/>
              <a:ext cx="79" cy="79"/>
            </a:xfrm>
            <a:prstGeom prst="ellipse">
              <a:avLst/>
            </a:prstGeom>
            <a:solidFill>
              <a:srgbClr val="ABAD23"/>
            </a:solidFill>
            <a:ln w="9525" cap="flat" cmpd="sng" algn="ctr">
              <a:solidFill>
                <a:srgbClr val="ABAD2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50299" tIns="25150" rIns="50299" bIns="25150" numCol="1" anchor="t" anchorCtr="0" compatLnSpc="1">
              <a:prstTxWarp prst="textNoShape">
                <a:avLst/>
              </a:prstTxWarp>
            </a:bodyPr>
            <a:lstStyle/>
            <a:p>
              <a:pPr marL="99763" indent="-99763" defTabSz="502937" fontAlgn="auto">
                <a:spcBef>
                  <a:spcPts val="674"/>
                </a:spcBef>
                <a:spcAft>
                  <a:spcPts val="0"/>
                </a:spcAft>
                <a:buFontTx/>
                <a:buChar char="•"/>
                <a:defRPr/>
              </a:pPr>
              <a:endParaRPr lang="en-AU" sz="99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79" name="Freeform 6"/>
            <p:cNvSpPr/>
            <p:nvPr>
              <p:custDataLst>
                <p:tags r:id="rId35"/>
              </p:custDataLst>
            </p:nvPr>
          </p:nvSpPr>
          <p:spPr bwMode="auto">
            <a:xfrm>
              <a:off x="1436" y="1868"/>
              <a:ext cx="135" cy="104"/>
            </a:xfrm>
            <a:custGeom>
              <a:avLst/>
              <a:gdLst>
                <a:gd name="T0" fmla="*/ 384 w 615"/>
                <a:gd name="T1" fmla="*/ 0 h 476"/>
                <a:gd name="T2" fmla="*/ 231 w 615"/>
                <a:gd name="T3" fmla="*/ 0 h 476"/>
                <a:gd name="T4" fmla="*/ 0 w 615"/>
                <a:gd name="T5" fmla="*/ 231 h 476"/>
                <a:gd name="T6" fmla="*/ 0 w 615"/>
                <a:gd name="T7" fmla="*/ 418 h 476"/>
                <a:gd name="T8" fmla="*/ 1 w 615"/>
                <a:gd name="T9" fmla="*/ 421 h 476"/>
                <a:gd name="T10" fmla="*/ 14 w 615"/>
                <a:gd name="T11" fmla="*/ 425 h 476"/>
                <a:gd name="T12" fmla="*/ 328 w 615"/>
                <a:gd name="T13" fmla="*/ 476 h 476"/>
                <a:gd name="T14" fmla="*/ 602 w 615"/>
                <a:gd name="T15" fmla="*/ 424 h 476"/>
                <a:gd name="T16" fmla="*/ 614 w 615"/>
                <a:gd name="T17" fmla="*/ 418 h 476"/>
                <a:gd name="T18" fmla="*/ 615 w 615"/>
                <a:gd name="T19" fmla="*/ 418 h 476"/>
                <a:gd name="T20" fmla="*/ 615 w 615"/>
                <a:gd name="T21" fmla="*/ 231 h 476"/>
                <a:gd name="T22" fmla="*/ 384 w 615"/>
                <a:gd name="T23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5" h="476">
                  <a:moveTo>
                    <a:pt x="384" y="0"/>
                  </a:moveTo>
                  <a:cubicBezTo>
                    <a:pt x="231" y="0"/>
                    <a:pt x="231" y="0"/>
                    <a:pt x="231" y="0"/>
                  </a:cubicBezTo>
                  <a:cubicBezTo>
                    <a:pt x="104" y="0"/>
                    <a:pt x="0" y="104"/>
                    <a:pt x="0" y="231"/>
                  </a:cubicBezTo>
                  <a:cubicBezTo>
                    <a:pt x="0" y="418"/>
                    <a:pt x="0" y="418"/>
                    <a:pt x="0" y="418"/>
                  </a:cubicBezTo>
                  <a:cubicBezTo>
                    <a:pt x="1" y="421"/>
                    <a:pt x="1" y="421"/>
                    <a:pt x="1" y="421"/>
                  </a:cubicBezTo>
                  <a:cubicBezTo>
                    <a:pt x="14" y="425"/>
                    <a:pt x="14" y="425"/>
                    <a:pt x="14" y="425"/>
                  </a:cubicBezTo>
                  <a:cubicBezTo>
                    <a:pt x="135" y="463"/>
                    <a:pt x="241" y="476"/>
                    <a:pt x="328" y="476"/>
                  </a:cubicBezTo>
                  <a:cubicBezTo>
                    <a:pt x="497" y="476"/>
                    <a:pt x="596" y="428"/>
                    <a:pt x="602" y="424"/>
                  </a:cubicBezTo>
                  <a:cubicBezTo>
                    <a:pt x="614" y="418"/>
                    <a:pt x="614" y="418"/>
                    <a:pt x="614" y="418"/>
                  </a:cubicBezTo>
                  <a:cubicBezTo>
                    <a:pt x="615" y="418"/>
                    <a:pt x="615" y="418"/>
                    <a:pt x="615" y="418"/>
                  </a:cubicBezTo>
                  <a:cubicBezTo>
                    <a:pt x="615" y="231"/>
                    <a:pt x="615" y="231"/>
                    <a:pt x="615" y="231"/>
                  </a:cubicBezTo>
                  <a:cubicBezTo>
                    <a:pt x="615" y="104"/>
                    <a:pt x="511" y="0"/>
                    <a:pt x="384" y="0"/>
                  </a:cubicBezTo>
                  <a:close/>
                </a:path>
              </a:pathLst>
            </a:custGeom>
            <a:solidFill>
              <a:srgbClr val="ABAD23"/>
            </a:solidFill>
            <a:ln w="9525" cap="flat" cmpd="sng" algn="ctr">
              <a:solidFill>
                <a:srgbClr val="ABAD2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50299" tIns="25150" rIns="50299" bIns="25150" numCol="1" anchor="t" anchorCtr="0" compatLnSpc="1">
              <a:prstTxWarp prst="textNoShape">
                <a:avLst/>
              </a:prstTxWarp>
            </a:bodyPr>
            <a:lstStyle/>
            <a:p>
              <a:pPr marL="99763" indent="-99763" defTabSz="502937" fontAlgn="auto">
                <a:spcBef>
                  <a:spcPts val="674"/>
                </a:spcBef>
                <a:spcAft>
                  <a:spcPts val="0"/>
                </a:spcAft>
                <a:buFontTx/>
                <a:buChar char="•"/>
                <a:defRPr/>
              </a:pPr>
              <a:endParaRPr lang="en-AU" sz="99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sp>
        <p:nvSpPr>
          <p:cNvPr id="53" name="Rectangle 52"/>
          <p:cNvSpPr/>
          <p:nvPr>
            <p:custDataLst>
              <p:tags r:id="rId19"/>
            </p:custDataLst>
          </p:nvPr>
        </p:nvSpPr>
        <p:spPr>
          <a:xfrm>
            <a:off x="3087326" y="3003251"/>
            <a:ext cx="258017" cy="1044496"/>
          </a:xfrm>
          <a:prstGeom prst="rect">
            <a:avLst/>
          </a:prstGeom>
          <a:solidFill>
            <a:schemeClr val="bg2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478" tIns="17478" rIns="17478" bIns="17478" rtlCol="0" anchor="ctr"/>
          <a:lstStyle/>
          <a:p>
            <a:pPr marL="99763" indent="-99763" algn="ctr" defTabSz="502937" fontAlgn="auto">
              <a:spcBef>
                <a:spcPts val="674"/>
              </a:spcBef>
              <a:spcAft>
                <a:spcPts val="0"/>
              </a:spcAft>
              <a:buFontTx/>
              <a:buChar char="•"/>
              <a:defRPr/>
            </a:pPr>
            <a:endParaRPr lang="en-AU" sz="972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54" name="btfpBulletedList143985"/>
          <p:cNvSpPr/>
          <p:nvPr>
            <p:custDataLst>
              <p:tags r:id="rId20"/>
            </p:custDataLst>
          </p:nvPr>
        </p:nvSpPr>
        <p:spPr>
          <a:xfrm>
            <a:off x="3742080" y="3353722"/>
            <a:ext cx="1581459" cy="616056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5928" tIns="15928" rIns="1593" bIns="15928" rtlCol="0" anchor="t"/>
          <a:lstStyle/>
          <a:p>
            <a:pPr defTabSz="399051" fontAlgn="auto">
              <a:spcBef>
                <a:spcPts val="338"/>
              </a:spcBef>
              <a:spcAft>
                <a:spcPts val="0"/>
              </a:spcAft>
            </a:pPr>
            <a:r>
              <a:rPr lang="en-US" sz="589" b="1" dirty="0">
                <a:solidFill>
                  <a:srgbClr val="197B4B"/>
                </a:solidFill>
                <a:latin typeface="Arial"/>
                <a:cs typeface="Arial"/>
              </a:rPr>
              <a:t>Department /Area managers </a:t>
            </a:r>
          </a:p>
          <a:p>
            <a:pPr defTabSz="399051" fontAlgn="auto">
              <a:spcBef>
                <a:spcPts val="338"/>
              </a:spcBef>
              <a:spcAft>
                <a:spcPts val="0"/>
              </a:spcAft>
            </a:pPr>
            <a:r>
              <a:rPr lang="en-US" sz="589" b="1" i="1" dirty="0">
                <a:solidFill>
                  <a:srgbClr val="197B4B"/>
                </a:solidFill>
                <a:latin typeface="Arial"/>
                <a:cs typeface="Arial"/>
              </a:rPr>
              <a:t>(Joel, Ruben, Dirk, Deepika , Bart)</a:t>
            </a:r>
          </a:p>
          <a:p>
            <a:pPr marL="99763" indent="-99763" defTabSz="399051" fontAlgn="auto">
              <a:spcBef>
                <a:spcPts val="338"/>
              </a:spcBef>
              <a:spcAft>
                <a:spcPts val="0"/>
              </a:spcAft>
              <a:buFontTx/>
              <a:buChar char="•"/>
            </a:pPr>
            <a:r>
              <a:rPr lang="en-US" sz="589" dirty="0">
                <a:solidFill>
                  <a:srgbClr val="000000"/>
                </a:solidFill>
                <a:latin typeface="Arial"/>
                <a:cs typeface="Arial"/>
              </a:rPr>
              <a:t>Set Priorities</a:t>
            </a:r>
          </a:p>
          <a:p>
            <a:pPr marL="99763" indent="-99763" defTabSz="399051" fontAlgn="auto">
              <a:spcBef>
                <a:spcPts val="338"/>
              </a:spcBef>
              <a:spcAft>
                <a:spcPts val="0"/>
              </a:spcAft>
              <a:buFontTx/>
              <a:buChar char="•"/>
            </a:pPr>
            <a:r>
              <a:rPr lang="en-US" sz="589" dirty="0">
                <a:solidFill>
                  <a:srgbClr val="000000"/>
                </a:solidFill>
                <a:latin typeface="Arial"/>
                <a:cs typeface="Arial"/>
              </a:rPr>
              <a:t>Challenge for speed of execution</a:t>
            </a:r>
          </a:p>
          <a:p>
            <a:pPr marL="99763" indent="-99763" defTabSz="399051" fontAlgn="auto">
              <a:spcBef>
                <a:spcPts val="338"/>
              </a:spcBef>
              <a:spcAft>
                <a:spcPts val="0"/>
              </a:spcAft>
              <a:buFontTx/>
              <a:buChar char="•"/>
            </a:pPr>
            <a:r>
              <a:rPr lang="en-US" sz="589" dirty="0">
                <a:solidFill>
                  <a:srgbClr val="000000"/>
                </a:solidFill>
                <a:latin typeface="Arial"/>
                <a:cs typeface="Arial"/>
              </a:rPr>
              <a:t>Notes risks to escalate </a:t>
            </a:r>
          </a:p>
        </p:txBody>
      </p:sp>
      <p:cxnSp>
        <p:nvCxnSpPr>
          <p:cNvPr id="62" name="Straight Connector 61"/>
          <p:cNvCxnSpPr>
            <a:cxnSpLocks/>
            <a:stCxn id="48" idx="1"/>
          </p:cNvCxnSpPr>
          <p:nvPr>
            <p:custDataLst>
              <p:tags r:id="rId21"/>
            </p:custDataLst>
          </p:nvPr>
        </p:nvCxnSpPr>
        <p:spPr>
          <a:xfrm flipH="1">
            <a:off x="3597184" y="2955223"/>
            <a:ext cx="144895" cy="183500"/>
          </a:xfrm>
          <a:prstGeom prst="line">
            <a:avLst/>
          </a:prstGeom>
          <a:ln w="9525" cap="flat" cmpd="sng" algn="ctr">
            <a:solidFill>
              <a:srgbClr val="197B4B"/>
            </a:solidFill>
            <a:prstDash val="solid"/>
            <a:miter lim="800000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oup 77">
            <a:extLst>
              <a:ext uri="{FF2B5EF4-FFF2-40B4-BE49-F238E27FC236}">
                <a16:creationId xmlns:a16="http://schemas.microsoft.com/office/drawing/2014/main" id="{28BC35EA-B570-40A9-87CD-E1FDEF4AC1CB}"/>
              </a:ext>
            </a:extLst>
          </p:cNvPr>
          <p:cNvGrpSpPr/>
          <p:nvPr>
            <p:custDataLst>
              <p:tags r:id="rId22"/>
            </p:custDataLst>
          </p:nvPr>
        </p:nvGrpSpPr>
        <p:grpSpPr>
          <a:xfrm>
            <a:off x="467381" y="1685251"/>
            <a:ext cx="1179257" cy="217416"/>
            <a:chOff x="1" y="1746547"/>
            <a:chExt cx="1536644" cy="193082"/>
          </a:xfrm>
          <a:solidFill>
            <a:srgbClr val="215968"/>
          </a:solidFill>
        </p:grpSpPr>
        <p:sp>
          <p:nvSpPr>
            <p:cNvPr id="80" name="btfpRunningAgenda1LevelBarLeft230526">
              <a:extLst>
                <a:ext uri="{FF2B5EF4-FFF2-40B4-BE49-F238E27FC236}">
                  <a16:creationId xmlns:a16="http://schemas.microsoft.com/office/drawing/2014/main" id="{BBB9634F-CE18-4941-AC0F-B9CDBB9FA180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 bwMode="gray">
            <a:xfrm>
              <a:off x="1" y="1746547"/>
              <a:ext cx="1536644" cy="193082"/>
            </a:xfrm>
            <a:custGeom>
              <a:avLst/>
              <a:gdLst>
                <a:gd name="connsiteX0" fmla="*/ 2048859 w 2048859"/>
                <a:gd name="connsiteY0" fmla="*/ 0 h 257442"/>
                <a:gd name="connsiteX1" fmla="*/ 1994137 w 2048859"/>
                <a:gd name="connsiteY1" fmla="*/ 257442 h 257442"/>
                <a:gd name="connsiteX2" fmla="*/ 0 w 2048859"/>
                <a:gd name="connsiteY2" fmla="*/ 257442 h 257442"/>
                <a:gd name="connsiteX3" fmla="*/ 1 w 204885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48859" h="257442">
                  <a:moveTo>
                    <a:pt x="2048859" y="0"/>
                  </a:moveTo>
                  <a:lnTo>
                    <a:pt x="1994137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0199" tIns="20199" rIns="20199" bIns="2019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99051" fontAlgn="auto">
                <a:spcBef>
                  <a:spcPts val="674"/>
                </a:spcBef>
                <a:spcAft>
                  <a:spcPts val="0"/>
                </a:spcAft>
              </a:pPr>
              <a:endParaRPr lang="en-US" sz="898" err="1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81" name="btfpRunningAgenda1LevelTextLeft230526">
              <a:extLst>
                <a:ext uri="{FF2B5EF4-FFF2-40B4-BE49-F238E27FC236}">
                  <a16:creationId xmlns:a16="http://schemas.microsoft.com/office/drawing/2014/main" id="{6EAE7224-C59B-4E02-A882-3B66E79475B6}"/>
                </a:ext>
              </a:extLst>
            </p:cNvPr>
            <p:cNvSpPr txBox="1"/>
            <p:nvPr>
              <p:custDataLst>
                <p:tags r:id="rId33"/>
              </p:custDataLst>
            </p:nvPr>
          </p:nvSpPr>
          <p:spPr bwMode="gray">
            <a:xfrm>
              <a:off x="1" y="1746547"/>
              <a:ext cx="1459374" cy="128399"/>
            </a:xfrm>
            <a:prstGeom prst="rect">
              <a:avLst/>
            </a:prstGeom>
            <a:grpFill/>
          </p:spPr>
          <p:txBody>
            <a:bodyPr vert="horz" wrap="none" lIns="202202" tIns="20220" rIns="202202" bIns="20220" rtlCol="0" anchor="t">
              <a:spAutoFit/>
            </a:bodyPr>
            <a:lstStyle/>
            <a:p>
              <a:pPr defTabSz="399051" fontAlgn="auto">
                <a:spcAft>
                  <a:spcPts val="0"/>
                </a:spcAft>
              </a:pPr>
              <a:r>
                <a:rPr lang="en-US" sz="674" b="1" cap="all" spc="253">
                  <a:solidFill>
                    <a:srgbClr val="FFFFFF"/>
                  </a:solidFill>
                  <a:latin typeface="Arial"/>
                  <a:cs typeface="Arial"/>
                </a:rPr>
                <a:t>meetings</a:t>
              </a:r>
            </a:p>
          </p:txBody>
        </p:sp>
      </p:grp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1523BAFB-E76E-4258-BD3D-D60E9809F229}"/>
              </a:ext>
            </a:extLst>
          </p:cNvPr>
          <p:cNvCxnSpPr/>
          <p:nvPr/>
        </p:nvCxnSpPr>
        <p:spPr>
          <a:xfrm>
            <a:off x="467380" y="1661733"/>
            <a:ext cx="8209241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Slide Number Placeholder 1">
            <a:extLst>
              <a:ext uri="{FF2B5EF4-FFF2-40B4-BE49-F238E27FC236}">
                <a16:creationId xmlns:a16="http://schemas.microsoft.com/office/drawing/2014/main" id="{E7579502-D32C-4637-8683-FB94D3086E62}"/>
              </a:ext>
            </a:extLst>
          </p:cNvPr>
          <p:cNvSpPr txBox="1">
            <a:spLocks/>
          </p:cNvSpPr>
          <p:nvPr/>
        </p:nvSpPr>
        <p:spPr>
          <a:xfrm>
            <a:off x="8561541" y="5693649"/>
            <a:ext cx="115416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 defTabSz="912116"/>
            <a:fld id="{746372F0-8F5B-47E8-9A0C-8905EFF44332}" type="slidenum">
              <a:rPr lang="en-US" sz="798">
                <a:solidFill>
                  <a:srgbClr val="000000">
                    <a:tint val="75000"/>
                  </a:srgbClr>
                </a:solidFill>
              </a:rPr>
              <a:pPr defTabSz="912116"/>
              <a:t>10</a:t>
            </a:fld>
            <a:endParaRPr lang="en-US" sz="798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A245BCDF-4627-47E6-840A-49139CCF4E00}"/>
              </a:ext>
            </a:extLst>
          </p:cNvPr>
          <p:cNvSpPr txBox="1"/>
          <p:nvPr/>
        </p:nvSpPr>
        <p:spPr>
          <a:xfrm>
            <a:off x="5670987" y="5693650"/>
            <a:ext cx="2398722" cy="1227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defTabSz="912116" eaLnBrk="1" hangingPunct="1"/>
            <a:r>
              <a:rPr lang="en-US" altLang="en-US" sz="798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798">
                <a:solidFill>
                  <a:srgbClr val="959595"/>
                </a:solidFill>
                <a:cs typeface="Arial" pitchFamily="34" charset="0"/>
              </a:rPr>
              <a:t>2021</a:t>
            </a:r>
            <a:r>
              <a:rPr lang="en-US" altLang="en-US" sz="798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798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4" name="btfpBulletedList143985">
            <a:extLst>
              <a:ext uri="{FF2B5EF4-FFF2-40B4-BE49-F238E27FC236}">
                <a16:creationId xmlns:a16="http://schemas.microsoft.com/office/drawing/2014/main" id="{F5408F99-03D5-4D2C-AF40-08F0E234D270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1092560" y="3214528"/>
            <a:ext cx="1493329" cy="39119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5928" tIns="15928" rIns="1593" bIns="15928" rtlCol="0" anchor="t"/>
          <a:lstStyle/>
          <a:p>
            <a:pPr defTabSz="399051" fontAlgn="auto">
              <a:spcBef>
                <a:spcPts val="338"/>
              </a:spcBef>
              <a:spcAft>
                <a:spcPts val="0"/>
              </a:spcAft>
            </a:pPr>
            <a:r>
              <a:rPr lang="en-US" sz="589" b="1" dirty="0">
                <a:solidFill>
                  <a:srgbClr val="000000"/>
                </a:solidFill>
                <a:latin typeface="Arial"/>
                <a:cs typeface="Arial"/>
              </a:rPr>
              <a:t>Portfolio Budget owner (Els)  </a:t>
            </a:r>
          </a:p>
          <a:p>
            <a:pPr marL="99763" indent="-99763" defTabSz="399051" fontAlgn="auto">
              <a:spcBef>
                <a:spcPts val="338"/>
              </a:spcBef>
              <a:spcAft>
                <a:spcPts val="0"/>
              </a:spcAft>
              <a:buFontTx/>
              <a:buChar char="•"/>
            </a:pPr>
            <a:r>
              <a:rPr lang="en-US" sz="589" dirty="0">
                <a:solidFill>
                  <a:srgbClr val="000000"/>
                </a:solidFill>
                <a:latin typeface="Arial"/>
                <a:cs typeface="Arial"/>
              </a:rPr>
              <a:t>Set Priorities</a:t>
            </a:r>
          </a:p>
          <a:p>
            <a:pPr marL="99763" indent="-99763" defTabSz="399051" fontAlgn="auto">
              <a:spcBef>
                <a:spcPts val="338"/>
              </a:spcBef>
              <a:spcAft>
                <a:spcPts val="0"/>
              </a:spcAft>
              <a:buFontTx/>
              <a:buChar char="•"/>
            </a:pPr>
            <a:r>
              <a:rPr lang="en-US" sz="589" dirty="0">
                <a:solidFill>
                  <a:srgbClr val="000000"/>
                </a:solidFill>
                <a:latin typeface="Arial"/>
                <a:cs typeface="Arial"/>
              </a:rPr>
              <a:t>Link to PRT’s </a:t>
            </a:r>
          </a:p>
        </p:txBody>
      </p:sp>
      <p:sp>
        <p:nvSpPr>
          <p:cNvPr id="85" name="btfpBulletedList143985">
            <a:extLst>
              <a:ext uri="{FF2B5EF4-FFF2-40B4-BE49-F238E27FC236}">
                <a16:creationId xmlns:a16="http://schemas.microsoft.com/office/drawing/2014/main" id="{FDE7AB45-F06F-4483-9A14-916CD2AE49D0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095662" y="3750865"/>
            <a:ext cx="1561388" cy="65937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5928" tIns="15928" rIns="1593" bIns="15928" rtlCol="0" anchor="t"/>
          <a:lstStyle/>
          <a:p>
            <a:pPr defTabSz="399051" fontAlgn="auto">
              <a:spcBef>
                <a:spcPts val="338"/>
              </a:spcBef>
              <a:spcAft>
                <a:spcPts val="0"/>
              </a:spcAft>
            </a:pPr>
            <a:r>
              <a:rPr lang="en-US" sz="589" b="1" dirty="0">
                <a:solidFill>
                  <a:srgbClr val="000000"/>
                </a:solidFill>
                <a:latin typeface="Arial"/>
                <a:cs typeface="Arial"/>
              </a:rPr>
              <a:t>Finance Tag (Xavier)</a:t>
            </a:r>
          </a:p>
          <a:p>
            <a:pPr defTabSz="399051" fontAlgn="auto">
              <a:spcBef>
                <a:spcPts val="338"/>
              </a:spcBef>
              <a:spcAft>
                <a:spcPts val="0"/>
              </a:spcAft>
            </a:pPr>
            <a:r>
              <a:rPr lang="en-US" sz="602" dirty="0">
                <a:solidFill>
                  <a:prstClr val="black"/>
                </a:solidFill>
                <a:latin typeface="Arial"/>
              </a:rPr>
              <a:t>support and assists project managers with project valuation questions.</a:t>
            </a:r>
            <a:r>
              <a:rPr lang="en-US" sz="589" dirty="0">
                <a:solidFill>
                  <a:srgbClr val="000000"/>
                </a:solidFill>
                <a:latin typeface="Arial"/>
                <a:cs typeface="Arial"/>
              </a:rPr>
              <a:t>.</a:t>
            </a: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647C6013-8398-4376-9343-2264A99C2204}"/>
              </a:ext>
            </a:extLst>
          </p:cNvPr>
          <p:cNvCxnSpPr>
            <a:cxnSpLocks/>
            <a:stCxn id="85" idx="3"/>
          </p:cNvCxnSpPr>
          <p:nvPr>
            <p:custDataLst>
              <p:tags r:id="rId25"/>
            </p:custDataLst>
          </p:nvPr>
        </p:nvCxnSpPr>
        <p:spPr>
          <a:xfrm flipV="1">
            <a:off x="2657050" y="3503020"/>
            <a:ext cx="145450" cy="577533"/>
          </a:xfrm>
          <a:prstGeom prst="line">
            <a:avLst/>
          </a:prstGeom>
          <a:ln w="9525">
            <a:solidFill>
              <a:schemeClr val="tx1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861C5FCC-6D24-41E2-8AEA-EF573CF20AAD}"/>
              </a:ext>
            </a:extLst>
          </p:cNvPr>
          <p:cNvCxnSpPr>
            <a:cxnSpLocks/>
            <a:stCxn id="54" idx="1"/>
          </p:cNvCxnSpPr>
          <p:nvPr>
            <p:custDataLst>
              <p:tags r:id="rId26"/>
            </p:custDataLst>
          </p:nvPr>
        </p:nvCxnSpPr>
        <p:spPr>
          <a:xfrm flipH="1" flipV="1">
            <a:off x="3629908" y="3525499"/>
            <a:ext cx="112172" cy="136251"/>
          </a:xfrm>
          <a:prstGeom prst="line">
            <a:avLst/>
          </a:prstGeom>
          <a:ln w="9525">
            <a:solidFill>
              <a:schemeClr val="tx1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C8762D5E-0433-BD05-9AA6-FA3387DAA8AD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079482" y="4557007"/>
            <a:ext cx="1540055" cy="388231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185" tIns="21185" rIns="2119" bIns="21185" rtlCol="0" anchor="t"/>
          <a:lstStyle/>
          <a:p>
            <a:pPr defTabSz="399051" fontAlgn="auto">
              <a:spcBef>
                <a:spcPts val="338"/>
              </a:spcBef>
              <a:spcAft>
                <a:spcPts val="0"/>
              </a:spcAft>
            </a:pPr>
            <a:r>
              <a:rPr lang="en-US" sz="589" b="1" dirty="0">
                <a:solidFill>
                  <a:srgbClr val="000000"/>
                </a:solidFill>
                <a:latin typeface="Arial"/>
                <a:cs typeface="Arial"/>
              </a:rPr>
              <a:t>Portfolio analyst (Cynthia) </a:t>
            </a:r>
          </a:p>
          <a:p>
            <a:pPr marL="100897" indent="-100897" defTabSz="530724" fontAlgn="auto">
              <a:spcBef>
                <a:spcPts val="449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784" dirty="0" err="1">
                <a:solidFill>
                  <a:srgbClr val="000000"/>
                </a:solidFill>
                <a:latin typeface="Arial"/>
                <a:cs typeface="Arial"/>
              </a:rPr>
              <a:t>myPPM</a:t>
            </a:r>
            <a:r>
              <a:rPr lang="en-US" sz="784" dirty="0">
                <a:solidFill>
                  <a:srgbClr val="000000"/>
                </a:solidFill>
                <a:latin typeface="Arial"/>
                <a:cs typeface="Arial"/>
              </a:rPr>
              <a:t> analytics reporting </a:t>
            </a:r>
          </a:p>
        </p:txBody>
      </p:sp>
      <p:grpSp>
        <p:nvGrpSpPr>
          <p:cNvPr id="7" name="Group 4">
            <a:extLst>
              <a:ext uri="{FF2B5EF4-FFF2-40B4-BE49-F238E27FC236}">
                <a16:creationId xmlns:a16="http://schemas.microsoft.com/office/drawing/2014/main" id="{5B9E6057-026F-E0BC-3B55-DB22726A6175}"/>
              </a:ext>
            </a:extLst>
          </p:cNvPr>
          <p:cNvGrpSpPr>
            <a:grpSpLocks noChangeAspect="1"/>
          </p:cNvGrpSpPr>
          <p:nvPr>
            <p:custDataLst>
              <p:tags r:id="rId28"/>
            </p:custDataLst>
          </p:nvPr>
        </p:nvGrpSpPr>
        <p:grpSpPr>
          <a:xfrm>
            <a:off x="2848185" y="3929917"/>
            <a:ext cx="160979" cy="221794"/>
            <a:chOff x="1436" y="1786"/>
            <a:chExt cx="135" cy="186"/>
          </a:xfrm>
          <a:solidFill>
            <a:schemeClr val="accent3"/>
          </a:solidFill>
        </p:grpSpPr>
        <p:sp>
          <p:nvSpPr>
            <p:cNvPr id="8" name="Oval 5">
              <a:extLst>
                <a:ext uri="{FF2B5EF4-FFF2-40B4-BE49-F238E27FC236}">
                  <a16:creationId xmlns:a16="http://schemas.microsoft.com/office/drawing/2014/main" id="{0A11BB11-EF75-5937-70CC-72D50BA71B7A}"/>
                </a:ext>
              </a:extLst>
            </p:cNvPr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1464" y="1786"/>
              <a:ext cx="79" cy="79"/>
            </a:xfrm>
            <a:prstGeom prst="ellipse">
              <a:avLst/>
            </a:prstGeom>
            <a:solidFill>
              <a:srgbClr val="ABAD23"/>
            </a:solidFill>
            <a:ln w="9525" cap="flat" cmpd="sng" algn="ctr">
              <a:solidFill>
                <a:srgbClr val="ABAD2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50299" tIns="25150" rIns="50299" bIns="25150" numCol="1" anchor="t" anchorCtr="0" compatLnSpc="1">
              <a:prstTxWarp prst="textNoShape">
                <a:avLst/>
              </a:prstTxWarp>
            </a:bodyPr>
            <a:lstStyle/>
            <a:p>
              <a:pPr marL="99763" indent="-99763" defTabSz="502937" fontAlgn="auto">
                <a:spcBef>
                  <a:spcPts val="674"/>
                </a:spcBef>
                <a:spcAft>
                  <a:spcPts val="0"/>
                </a:spcAft>
                <a:buFontTx/>
                <a:buChar char="•"/>
                <a:defRPr/>
              </a:pPr>
              <a:endParaRPr lang="en-AU" sz="99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01792770-BC91-B59F-BD53-4382C6440475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 bwMode="auto">
            <a:xfrm>
              <a:off x="1436" y="1868"/>
              <a:ext cx="135" cy="104"/>
            </a:xfrm>
            <a:custGeom>
              <a:avLst/>
              <a:gdLst>
                <a:gd name="T0" fmla="*/ 384 w 615"/>
                <a:gd name="T1" fmla="*/ 0 h 476"/>
                <a:gd name="T2" fmla="*/ 231 w 615"/>
                <a:gd name="T3" fmla="*/ 0 h 476"/>
                <a:gd name="T4" fmla="*/ 0 w 615"/>
                <a:gd name="T5" fmla="*/ 231 h 476"/>
                <a:gd name="T6" fmla="*/ 0 w 615"/>
                <a:gd name="T7" fmla="*/ 418 h 476"/>
                <a:gd name="T8" fmla="*/ 1 w 615"/>
                <a:gd name="T9" fmla="*/ 421 h 476"/>
                <a:gd name="T10" fmla="*/ 14 w 615"/>
                <a:gd name="T11" fmla="*/ 425 h 476"/>
                <a:gd name="T12" fmla="*/ 328 w 615"/>
                <a:gd name="T13" fmla="*/ 476 h 476"/>
                <a:gd name="T14" fmla="*/ 602 w 615"/>
                <a:gd name="T15" fmla="*/ 424 h 476"/>
                <a:gd name="T16" fmla="*/ 614 w 615"/>
                <a:gd name="T17" fmla="*/ 418 h 476"/>
                <a:gd name="T18" fmla="*/ 615 w 615"/>
                <a:gd name="T19" fmla="*/ 418 h 476"/>
                <a:gd name="T20" fmla="*/ 615 w 615"/>
                <a:gd name="T21" fmla="*/ 231 h 476"/>
                <a:gd name="T22" fmla="*/ 384 w 615"/>
                <a:gd name="T23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5" h="476">
                  <a:moveTo>
                    <a:pt x="384" y="0"/>
                  </a:moveTo>
                  <a:cubicBezTo>
                    <a:pt x="231" y="0"/>
                    <a:pt x="231" y="0"/>
                    <a:pt x="231" y="0"/>
                  </a:cubicBezTo>
                  <a:cubicBezTo>
                    <a:pt x="104" y="0"/>
                    <a:pt x="0" y="104"/>
                    <a:pt x="0" y="231"/>
                  </a:cubicBezTo>
                  <a:cubicBezTo>
                    <a:pt x="0" y="418"/>
                    <a:pt x="0" y="418"/>
                    <a:pt x="0" y="418"/>
                  </a:cubicBezTo>
                  <a:cubicBezTo>
                    <a:pt x="1" y="421"/>
                    <a:pt x="1" y="421"/>
                    <a:pt x="1" y="421"/>
                  </a:cubicBezTo>
                  <a:cubicBezTo>
                    <a:pt x="14" y="425"/>
                    <a:pt x="14" y="425"/>
                    <a:pt x="14" y="425"/>
                  </a:cubicBezTo>
                  <a:cubicBezTo>
                    <a:pt x="135" y="463"/>
                    <a:pt x="241" y="476"/>
                    <a:pt x="328" y="476"/>
                  </a:cubicBezTo>
                  <a:cubicBezTo>
                    <a:pt x="497" y="476"/>
                    <a:pt x="596" y="428"/>
                    <a:pt x="602" y="424"/>
                  </a:cubicBezTo>
                  <a:cubicBezTo>
                    <a:pt x="614" y="418"/>
                    <a:pt x="614" y="418"/>
                    <a:pt x="614" y="418"/>
                  </a:cubicBezTo>
                  <a:cubicBezTo>
                    <a:pt x="615" y="418"/>
                    <a:pt x="615" y="418"/>
                    <a:pt x="615" y="418"/>
                  </a:cubicBezTo>
                  <a:cubicBezTo>
                    <a:pt x="615" y="231"/>
                    <a:pt x="615" y="231"/>
                    <a:pt x="615" y="231"/>
                  </a:cubicBezTo>
                  <a:cubicBezTo>
                    <a:pt x="615" y="104"/>
                    <a:pt x="511" y="0"/>
                    <a:pt x="384" y="0"/>
                  </a:cubicBezTo>
                  <a:close/>
                </a:path>
              </a:pathLst>
            </a:custGeom>
            <a:solidFill>
              <a:srgbClr val="ABAD23"/>
            </a:solidFill>
            <a:ln w="9525" cap="flat" cmpd="sng" algn="ctr">
              <a:solidFill>
                <a:srgbClr val="ABAD2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50299" tIns="25150" rIns="50299" bIns="25150" numCol="1" anchor="t" anchorCtr="0" compatLnSpc="1">
              <a:prstTxWarp prst="textNoShape">
                <a:avLst/>
              </a:prstTxWarp>
            </a:bodyPr>
            <a:lstStyle/>
            <a:p>
              <a:pPr marL="99763" indent="-99763" defTabSz="502937" fontAlgn="auto">
                <a:spcBef>
                  <a:spcPts val="674"/>
                </a:spcBef>
                <a:spcAft>
                  <a:spcPts val="0"/>
                </a:spcAft>
                <a:buFontTx/>
                <a:buChar char="•"/>
                <a:defRPr/>
              </a:pPr>
              <a:endParaRPr lang="en-AU" sz="99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F7D72F2-8B1B-0C11-657F-BB1EB8BABE42}"/>
              </a:ext>
            </a:extLst>
          </p:cNvPr>
          <p:cNvCxnSpPr>
            <a:cxnSpLocks/>
            <a:stCxn id="6" idx="3"/>
          </p:cNvCxnSpPr>
          <p:nvPr>
            <p:custDataLst>
              <p:tags r:id="rId29"/>
            </p:custDataLst>
          </p:nvPr>
        </p:nvCxnSpPr>
        <p:spPr>
          <a:xfrm flipV="1">
            <a:off x="2619537" y="3958211"/>
            <a:ext cx="180385" cy="792912"/>
          </a:xfrm>
          <a:prstGeom prst="line">
            <a:avLst/>
          </a:prstGeom>
          <a:ln w="9525" cap="flat" cmpd="sng" algn="ctr">
            <a:solidFill>
              <a:srgbClr val="ABAD23"/>
            </a:solidFill>
            <a:prstDash val="solid"/>
            <a:miter lim="800000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D04D242F-CD2D-92A5-D45E-45A1264CDDA7}"/>
              </a:ext>
            </a:extLst>
          </p:cNvPr>
          <p:cNvSpPr txBox="1"/>
          <p:nvPr/>
        </p:nvSpPr>
        <p:spPr>
          <a:xfrm>
            <a:off x="5995759" y="219037"/>
            <a:ext cx="2765653" cy="21698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900" dirty="0">
                <a:highlight>
                  <a:srgbClr val="FFFF00"/>
                </a:highlight>
              </a:rPr>
              <a:t>Participants (9 - ? )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900" b="1" dirty="0"/>
              <a:t>Maike (Facilitator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900" b="1" dirty="0"/>
              <a:t>Els (Budget owner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900" b="1" dirty="0"/>
              <a:t>Cynthia (Analys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900" b="1" dirty="0"/>
              <a:t>Xavier  (Financ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900" dirty="0"/>
              <a:t>Area managers (=PM):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900" b="1" dirty="0"/>
              <a:t>Joel W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900" b="1" dirty="0"/>
              <a:t>Rube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900" b="1" dirty="0"/>
              <a:t>Deepika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900" b="1" dirty="0"/>
              <a:t>Bart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900" b="1" dirty="0"/>
              <a:t>Dirk (representing </a:t>
            </a:r>
            <a:r>
              <a:rPr lang="en-GB" sz="900" b="1" dirty="0" err="1"/>
              <a:t>Maint</a:t>
            </a:r>
            <a:r>
              <a:rPr lang="en-GB" sz="900" b="1" dirty="0"/>
              <a:t>+ pilot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900" dirty="0"/>
              <a:t>SME on need basis: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900" dirty="0"/>
              <a:t>Franz EIA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900" dirty="0"/>
              <a:t>Rik EH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900" dirty="0"/>
              <a:t>Vincent</a:t>
            </a:r>
          </a:p>
        </p:txBody>
      </p:sp>
    </p:spTree>
    <p:extLst>
      <p:ext uri="{BB962C8B-B14F-4D97-AF65-F5344CB8AC3E}">
        <p14:creationId xmlns:p14="http://schemas.microsoft.com/office/powerpoint/2010/main" val="3095148383"/>
      </p:ext>
    </p:extLst>
  </p:cSld>
  <p:clrMapOvr>
    <a:masterClrMapping/>
  </p:clrMapOvr>
  <p:transition advTm="117091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5DD5BDC-C435-4465-AFB1-EF39ACD9466D}"/>
              </a:ext>
            </a:extLst>
          </p:cNvPr>
          <p:cNvSpPr txBox="1">
            <a:spLocks/>
          </p:cNvSpPr>
          <p:nvPr/>
        </p:nvSpPr>
        <p:spPr>
          <a:xfrm>
            <a:off x="478480" y="1276843"/>
            <a:ext cx="8665520" cy="33267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533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399051" fontAlgn="auto">
              <a:lnSpc>
                <a:spcPts val="2873"/>
              </a:lnSpc>
              <a:spcAft>
                <a:spcPts val="0"/>
              </a:spcAft>
            </a:pPr>
            <a:r>
              <a:rPr lang="en-US" sz="2000" b="0" dirty="0">
                <a:solidFill>
                  <a:srgbClr val="005F86"/>
                </a:solidFill>
                <a:latin typeface="Arial" panose="020B0604020202020204" pitchFamily="34" charset="0"/>
                <a:cs typeface="Arial"/>
              </a:rPr>
              <a:t>Escalation Levels </a:t>
            </a:r>
          </a:p>
        </p:txBody>
      </p:sp>
      <p:sp>
        <p:nvSpPr>
          <p:cNvPr id="4" name="Flowchart: Connector 3">
            <a:extLst>
              <a:ext uri="{FF2B5EF4-FFF2-40B4-BE49-F238E27FC236}">
                <a16:creationId xmlns:a16="http://schemas.microsoft.com/office/drawing/2014/main" id="{2E94B721-92EA-4AFF-BC67-56824CFA32B4}"/>
              </a:ext>
            </a:extLst>
          </p:cNvPr>
          <p:cNvSpPr/>
          <p:nvPr/>
        </p:nvSpPr>
        <p:spPr>
          <a:xfrm>
            <a:off x="7694744" y="982849"/>
            <a:ext cx="1116386" cy="1140172"/>
          </a:xfrm>
          <a:prstGeom prst="flowChartConnector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4087"/>
            <a:endParaRPr lang="en-US" sz="1197">
              <a:solidFill>
                <a:prstClr val="white"/>
              </a:solidFill>
              <a:latin typeface="Arial"/>
              <a:cs typeface="Arial"/>
            </a:endParaRP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6ABDCE11-1ADA-46DE-9911-EA3ED91464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7904113"/>
              </p:ext>
            </p:extLst>
          </p:nvPr>
        </p:nvGraphicFramePr>
        <p:xfrm>
          <a:off x="394785" y="2755237"/>
          <a:ext cx="2939831" cy="32455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4" name="Flowchart: Connector 13">
            <a:extLst>
              <a:ext uri="{FF2B5EF4-FFF2-40B4-BE49-F238E27FC236}">
                <a16:creationId xmlns:a16="http://schemas.microsoft.com/office/drawing/2014/main" id="{C21CD5B5-5E11-4F9A-A039-20643CD59209}"/>
              </a:ext>
            </a:extLst>
          </p:cNvPr>
          <p:cNvSpPr/>
          <p:nvPr/>
        </p:nvSpPr>
        <p:spPr>
          <a:xfrm>
            <a:off x="3213310" y="3102121"/>
            <a:ext cx="132406" cy="117053"/>
          </a:xfrm>
          <a:prstGeom prst="flowChartConnector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4087"/>
            <a:endParaRPr lang="en-US" sz="1197">
              <a:solidFill>
                <a:prstClr val="white"/>
              </a:solidFill>
              <a:latin typeface="Arial"/>
              <a:cs typeface="Arial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21F74CB-38EC-45C1-9215-4B43F088D5E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0800000">
            <a:off x="3271395" y="2638184"/>
            <a:ext cx="4720723" cy="3133465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96BE67B4-8D93-4AE8-AE56-80EE7A287F65}"/>
              </a:ext>
            </a:extLst>
          </p:cNvPr>
          <p:cNvSpPr txBox="1"/>
          <p:nvPr/>
        </p:nvSpPr>
        <p:spPr>
          <a:xfrm>
            <a:off x="4539369" y="4218419"/>
            <a:ext cx="2465758" cy="430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4087"/>
            <a:r>
              <a:rPr lang="en-US" sz="1197" dirty="0">
                <a:solidFill>
                  <a:sysClr val="window" lastClr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 charset="0"/>
              </a:rPr>
              <a:t>Business level</a:t>
            </a:r>
          </a:p>
          <a:p>
            <a:pPr algn="ctr" defTabSz="684087"/>
            <a:r>
              <a:rPr lang="en-US" sz="1000" dirty="0">
                <a:solidFill>
                  <a:sysClr val="window" lastClr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 charset="0"/>
              </a:rPr>
              <a:t>LT responsible for decision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B034BCD-7245-48BF-BA69-453B5D848845}"/>
              </a:ext>
            </a:extLst>
          </p:cNvPr>
          <p:cNvSpPr txBox="1"/>
          <p:nvPr/>
        </p:nvSpPr>
        <p:spPr>
          <a:xfrm>
            <a:off x="4154726" y="3514088"/>
            <a:ext cx="313878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4087"/>
            <a:r>
              <a:rPr lang="en-US" sz="1100" dirty="0">
                <a:solidFill>
                  <a:sysClr val="window" lastClr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 charset="0"/>
              </a:rPr>
              <a:t>Functional Level</a:t>
            </a:r>
          </a:p>
          <a:p>
            <a:pPr algn="ctr" defTabSz="684087"/>
            <a:r>
              <a:rPr lang="en-US" sz="1100" dirty="0">
                <a:solidFill>
                  <a:sysClr val="window" lastClr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 charset="0"/>
              </a:rPr>
              <a:t>PMO responsible to escalate to business 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C0C5D5A-9213-4D0D-927D-10522022C477}"/>
              </a:ext>
            </a:extLst>
          </p:cNvPr>
          <p:cNvSpPr txBox="1"/>
          <p:nvPr/>
        </p:nvSpPr>
        <p:spPr>
          <a:xfrm>
            <a:off x="4026129" y="2729268"/>
            <a:ext cx="3492237" cy="276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4087"/>
            <a:r>
              <a:rPr lang="en-US" sz="1197" dirty="0">
                <a:solidFill>
                  <a:sysClr val="window" lastClr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 charset="0"/>
              </a:rPr>
              <a:t>Project team level 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1B45F67-80B6-4DE5-A74F-74499B84D40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810801" y="4271671"/>
            <a:ext cx="2270107" cy="1377123"/>
          </a:xfrm>
          <a:prstGeom prst="rect">
            <a:avLst/>
          </a:prstGeom>
        </p:spPr>
      </p:pic>
      <p:sp>
        <p:nvSpPr>
          <p:cNvPr id="28" name="Flowchart: Connector 27">
            <a:extLst>
              <a:ext uri="{FF2B5EF4-FFF2-40B4-BE49-F238E27FC236}">
                <a16:creationId xmlns:a16="http://schemas.microsoft.com/office/drawing/2014/main" id="{D1DB4290-1504-4856-AAB0-3D155AEAEDBE}"/>
              </a:ext>
            </a:extLst>
          </p:cNvPr>
          <p:cNvSpPr/>
          <p:nvPr/>
        </p:nvSpPr>
        <p:spPr>
          <a:xfrm>
            <a:off x="4236788" y="5145333"/>
            <a:ext cx="132406" cy="117053"/>
          </a:xfrm>
          <a:prstGeom prst="flowChartConnector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4087"/>
            <a:endParaRPr lang="en-US" sz="1197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29" name="Flowchart: Connector 28">
            <a:extLst>
              <a:ext uri="{FF2B5EF4-FFF2-40B4-BE49-F238E27FC236}">
                <a16:creationId xmlns:a16="http://schemas.microsoft.com/office/drawing/2014/main" id="{C91EBD97-864D-4828-88CE-E5A4117EB658}"/>
              </a:ext>
            </a:extLst>
          </p:cNvPr>
          <p:cNvSpPr/>
          <p:nvPr/>
        </p:nvSpPr>
        <p:spPr>
          <a:xfrm>
            <a:off x="4390572" y="5145333"/>
            <a:ext cx="132406" cy="117053"/>
          </a:xfrm>
          <a:prstGeom prst="flowChartConnector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4087"/>
            <a:endParaRPr lang="en-US" sz="1197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30" name="Flowchart: Connector 29">
            <a:extLst>
              <a:ext uri="{FF2B5EF4-FFF2-40B4-BE49-F238E27FC236}">
                <a16:creationId xmlns:a16="http://schemas.microsoft.com/office/drawing/2014/main" id="{C86CEE08-B358-470F-869A-9ED8E58708DE}"/>
              </a:ext>
            </a:extLst>
          </p:cNvPr>
          <p:cNvSpPr/>
          <p:nvPr/>
        </p:nvSpPr>
        <p:spPr>
          <a:xfrm>
            <a:off x="4539369" y="5145333"/>
            <a:ext cx="132406" cy="117053"/>
          </a:xfrm>
          <a:prstGeom prst="flowChartConnector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4087"/>
            <a:endParaRPr lang="en-US" sz="1197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31" name="Flowchart: Connector 30">
            <a:extLst>
              <a:ext uri="{FF2B5EF4-FFF2-40B4-BE49-F238E27FC236}">
                <a16:creationId xmlns:a16="http://schemas.microsoft.com/office/drawing/2014/main" id="{CA07DAB8-15BA-48B9-80F6-CB1060B2ABF2}"/>
              </a:ext>
            </a:extLst>
          </p:cNvPr>
          <p:cNvSpPr/>
          <p:nvPr/>
        </p:nvSpPr>
        <p:spPr>
          <a:xfrm>
            <a:off x="4690521" y="5140672"/>
            <a:ext cx="132406" cy="117053"/>
          </a:xfrm>
          <a:prstGeom prst="flowChartConnector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4087"/>
            <a:endParaRPr lang="en-US" sz="1197">
              <a:solidFill>
                <a:prstClr val="white"/>
              </a:solidFill>
              <a:latin typeface="Arial"/>
              <a:cs typeface="Arial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CC2AB0B5-E559-420A-BDA4-D85B8DF48F1E}"/>
              </a:ext>
            </a:extLst>
          </p:cNvPr>
          <p:cNvCxnSpPr/>
          <p:nvPr/>
        </p:nvCxnSpPr>
        <p:spPr>
          <a:xfrm>
            <a:off x="467380" y="1661733"/>
            <a:ext cx="8209241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1">
            <a:extLst>
              <a:ext uri="{FF2B5EF4-FFF2-40B4-BE49-F238E27FC236}">
                <a16:creationId xmlns:a16="http://schemas.microsoft.com/office/drawing/2014/main" id="{44EC02D6-8662-42F6-8638-228608D2B4B4}"/>
              </a:ext>
            </a:extLst>
          </p:cNvPr>
          <p:cNvSpPr txBox="1">
            <a:spLocks/>
          </p:cNvSpPr>
          <p:nvPr/>
        </p:nvSpPr>
        <p:spPr>
          <a:xfrm>
            <a:off x="8561541" y="5693649"/>
            <a:ext cx="115416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 defTabSz="912116"/>
            <a:fld id="{746372F0-8F5B-47E8-9A0C-8905EFF44332}" type="slidenum">
              <a:rPr lang="en-US" sz="798">
                <a:solidFill>
                  <a:srgbClr val="000000">
                    <a:tint val="75000"/>
                  </a:srgbClr>
                </a:solidFill>
              </a:rPr>
              <a:pPr defTabSz="912116"/>
              <a:t>11</a:t>
            </a:fld>
            <a:endParaRPr lang="en-US" sz="798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DBC9083-7897-469F-AA96-9149F2888C8C}"/>
              </a:ext>
            </a:extLst>
          </p:cNvPr>
          <p:cNvSpPr txBox="1"/>
          <p:nvPr/>
        </p:nvSpPr>
        <p:spPr>
          <a:xfrm>
            <a:off x="5670987" y="5693650"/>
            <a:ext cx="2398722" cy="1227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defTabSz="912116" eaLnBrk="1" hangingPunct="1"/>
            <a:r>
              <a:rPr lang="en-US" altLang="en-US" sz="798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798">
                <a:solidFill>
                  <a:srgbClr val="959595"/>
                </a:solidFill>
                <a:cs typeface="Arial" pitchFamily="34" charset="0"/>
              </a:rPr>
              <a:t>2021</a:t>
            </a:r>
            <a:r>
              <a:rPr lang="en-US" altLang="en-US" sz="798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798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A2C14D3-DF8E-468B-B2B5-59716079D84B}"/>
              </a:ext>
            </a:extLst>
          </p:cNvPr>
          <p:cNvSpPr txBox="1"/>
          <p:nvPr/>
        </p:nvSpPr>
        <p:spPr>
          <a:xfrm>
            <a:off x="7072779" y="863613"/>
            <a:ext cx="2059911" cy="184538"/>
          </a:xfrm>
          <a:prstGeom prst="rect">
            <a:avLst/>
          </a:prstGeom>
          <a:solidFill>
            <a:srgbClr val="007681"/>
          </a:solidFill>
        </p:spPr>
        <p:txBody>
          <a:bodyPr wrap="square">
            <a:spAutoFit/>
          </a:bodyPr>
          <a:lstStyle/>
          <a:p>
            <a:pPr defTabSz="912116"/>
            <a:r>
              <a:rPr lang="en-US" sz="599">
                <a:solidFill>
                  <a:srgbClr val="FFFFFF"/>
                </a:solidFill>
              </a:rPr>
              <a:t>Portfolio Reviews at different levels  – Detail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70F88-D7D9-4C74-B621-4AB14B276A8D}"/>
              </a:ext>
            </a:extLst>
          </p:cNvPr>
          <p:cNvSpPr txBox="1"/>
          <p:nvPr/>
        </p:nvSpPr>
        <p:spPr>
          <a:xfrm>
            <a:off x="394785" y="1742336"/>
            <a:ext cx="857927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19" fontAlgn="auto">
              <a:spcBef>
                <a:spcPts val="0"/>
              </a:spcBef>
              <a:spcAft>
                <a:spcPts val="0"/>
              </a:spcAft>
            </a:pPr>
            <a:r>
              <a:rPr lang="en-US" sz="1350" b="1">
                <a:solidFill>
                  <a:srgbClr val="000000"/>
                </a:solidFill>
                <a:latin typeface="Arial"/>
              </a:rPr>
              <a:t>Proces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C640FE9-73FF-4CD8-AC12-A9D3B431C1B3}"/>
              </a:ext>
            </a:extLst>
          </p:cNvPr>
          <p:cNvSpPr/>
          <p:nvPr/>
        </p:nvSpPr>
        <p:spPr>
          <a:xfrm>
            <a:off x="3213310" y="3036143"/>
            <a:ext cx="346963" cy="605656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537"/>
            <a:endParaRPr lang="en-US" sz="1353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8519911-8FDA-4917-89F0-AC8232CA31D4}"/>
              </a:ext>
            </a:extLst>
          </p:cNvPr>
          <p:cNvSpPr/>
          <p:nvPr/>
        </p:nvSpPr>
        <p:spPr>
          <a:xfrm>
            <a:off x="3898892" y="4226438"/>
            <a:ext cx="346081" cy="605656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537"/>
            <a:endParaRPr lang="en-US" sz="1353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20E8FB3-364A-4C26-B398-7BE31595CABB}"/>
              </a:ext>
            </a:extLst>
          </p:cNvPr>
          <p:cNvSpPr/>
          <p:nvPr/>
        </p:nvSpPr>
        <p:spPr>
          <a:xfrm>
            <a:off x="4136667" y="5087930"/>
            <a:ext cx="713544" cy="605656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7537"/>
            <a:endParaRPr lang="en-US" sz="1353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0" name="Audio 9">
            <a:hlinkClick r:id="" action="ppaction://media"/>
            <a:extLst>
              <a:ext uri="{FF2B5EF4-FFF2-40B4-BE49-F238E27FC236}">
                <a16:creationId xmlns:a16="http://schemas.microsoft.com/office/drawing/2014/main" id="{2FE2FFBD-2010-42F0-9555-CC8E7274344A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2"/>
          <a:stretch>
            <a:fillRect/>
          </a:stretch>
        </p:blipFill>
        <p:spPr>
          <a:xfrm>
            <a:off x="8571083" y="5434211"/>
            <a:ext cx="458334" cy="45833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755310A-6C2D-9007-224F-2A7FD38DC051}"/>
              </a:ext>
            </a:extLst>
          </p:cNvPr>
          <p:cNvSpPr txBox="1"/>
          <p:nvPr/>
        </p:nvSpPr>
        <p:spPr>
          <a:xfrm>
            <a:off x="4062361" y="197987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E8855F-DB3A-60E2-0E03-F7ED186E5764}"/>
              </a:ext>
            </a:extLst>
          </p:cNvPr>
          <p:cNvSpPr txBox="1"/>
          <p:nvPr/>
        </p:nvSpPr>
        <p:spPr>
          <a:xfrm>
            <a:off x="4206802" y="2930966"/>
            <a:ext cx="313878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4087"/>
            <a:r>
              <a:rPr lang="en-US" sz="1100" dirty="0">
                <a:solidFill>
                  <a:schemeClr val="bg1"/>
                </a:solidFill>
                <a:latin typeface="Arial"/>
                <a:cs typeface="Arial" charset="0"/>
              </a:rPr>
              <a:t>PM responsible to escalate to functional level</a:t>
            </a:r>
          </a:p>
          <a:p>
            <a:pPr algn="ctr" defTabSz="684087"/>
            <a:r>
              <a:rPr lang="en-US" sz="1100" dirty="0">
                <a:solidFill>
                  <a:schemeClr val="bg1"/>
                </a:solidFill>
                <a:latin typeface="Arial"/>
                <a:cs typeface="Arial" charset="0"/>
              </a:rPr>
              <a:t>(Finance, safety, engineering, </a:t>
            </a:r>
            <a:r>
              <a:rPr lang="en-US" sz="1100" dirty="0" err="1">
                <a:solidFill>
                  <a:schemeClr val="bg1"/>
                </a:solidFill>
                <a:latin typeface="Arial"/>
                <a:cs typeface="Arial" charset="0"/>
              </a:rPr>
              <a:t>etc</a:t>
            </a:r>
            <a:r>
              <a:rPr lang="en-US" sz="1100" dirty="0">
                <a:solidFill>
                  <a:schemeClr val="bg1"/>
                </a:solidFill>
                <a:latin typeface="Arial"/>
                <a:cs typeface="Arial" charset="0"/>
              </a:rPr>
              <a:t>…)   </a:t>
            </a:r>
            <a:r>
              <a:rPr lang="en-US" sz="1100" dirty="0">
                <a:latin typeface="Arial"/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22325619"/>
      </p:ext>
    </p:extLst>
  </p:cSld>
  <p:clrMapOvr>
    <a:masterClrMapping/>
  </p:clrMapOvr>
  <p:transition advTm="84408"/>
  <p:timing>
    <p:tnLst>
      <p:par>
        <p:cTn id="1" dur="indefinite" restart="never" nodeType="tmRoot">
          <p:childTnLst>
            <p:audio isNarration="1">
              <p:cMediaNode vol="80000" showWhenStopped="0">
                <p:cTn id="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0"/>
                </p:tgtEl>
              </p:cMediaNode>
            </p:audi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17E77-043D-7035-92F7-96E88B63E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yPPM</a:t>
            </a:r>
            <a:r>
              <a:rPr lang="en-GB" dirty="0"/>
              <a:t> timesheets FY25 –YTD September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2591D6-9CF7-593B-7BCB-3E10AD797B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6372F0-8F5B-47E8-9A0C-8905EFF4433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E84E58-DCDC-7BAF-A223-F8FD50E497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US" dirty="0"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1295210-CF14-C7C9-8488-FB0E7AE595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933372"/>
            <a:ext cx="9144000" cy="299125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B8A7238-3170-2339-D19F-B071F2F14B83}"/>
              </a:ext>
            </a:extLst>
          </p:cNvPr>
          <p:cNvSpPr txBox="1"/>
          <p:nvPr/>
        </p:nvSpPr>
        <p:spPr>
          <a:xfrm>
            <a:off x="3917482" y="1232034"/>
            <a:ext cx="2108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hlinkClick r:id="rId3"/>
              </a:rPr>
              <a:t>Resource plann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6146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41DCA1-992B-3A7F-3F7A-F484FBD88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0664" y="1847088"/>
            <a:ext cx="7440810" cy="1319624"/>
          </a:xfrm>
        </p:spPr>
        <p:txBody>
          <a:bodyPr/>
          <a:lstStyle/>
          <a:p>
            <a:r>
              <a:rPr lang="en-GB" dirty="0"/>
              <a:t>Reference material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6BB527-4D09-0A05-731A-1E5B2D6929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6372F0-8F5B-47E8-9A0C-8905EFF4433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49C14F-535E-B900-0FF0-6AD305A03C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97999B"/>
                </a:solidFill>
                <a:cs typeface="Arial" charset="0"/>
              </a:rPr>
              <a:t>Footer</a:t>
            </a:r>
            <a:endParaRPr lang="en-US" dirty="0">
              <a:solidFill>
                <a:srgbClr val="FF0000"/>
              </a:solidFill>
              <a:cs typeface="Arial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FE138A1-4663-7469-C4CB-F9BDC4811D1C}"/>
              </a:ext>
            </a:extLst>
          </p:cNvPr>
          <p:cNvSpPr txBox="1"/>
          <p:nvPr/>
        </p:nvSpPr>
        <p:spPr>
          <a:xfrm>
            <a:off x="875899" y="3782728"/>
            <a:ext cx="5609228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ortfolio management -Guidelines and best practices</a:t>
            </a:r>
            <a:endParaRPr lang="en-GB" dirty="0">
              <a:solidFill>
                <a:schemeClr val="bg1"/>
              </a:solidFill>
            </a:endParaRPr>
          </a:p>
          <a:p>
            <a:r>
              <a:rPr lang="en-GB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ject Management execution methodology</a:t>
            </a:r>
            <a:endParaRPr lang="en-GB" dirty="0">
              <a:solidFill>
                <a:schemeClr val="bg1"/>
              </a:solidFill>
            </a:endParaRPr>
          </a:p>
          <a:p>
            <a:r>
              <a:rPr lang="en-GB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FB PMO Community of Practice -Gate reviews</a:t>
            </a:r>
            <a:endParaRPr lang="en-GB" dirty="0">
              <a:solidFill>
                <a:schemeClr val="bg1"/>
              </a:solidFill>
            </a:endParaRPr>
          </a:p>
          <a:p>
            <a:endParaRPr lang="en-GB" dirty="0">
              <a:solidFill>
                <a:schemeClr val="bg1"/>
              </a:solidFill>
            </a:endParaRPr>
          </a:p>
          <a:p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66312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0A97B45-26D2-4D40-A811-72AED5961554}"/>
              </a:ext>
            </a:extLst>
          </p:cNvPr>
          <p:cNvSpPr/>
          <p:nvPr/>
        </p:nvSpPr>
        <p:spPr>
          <a:xfrm>
            <a:off x="478482" y="1729939"/>
            <a:ext cx="8336699" cy="323165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algn="ctr" defTabSz="685819" fontAlgn="ctr">
              <a:spcBef>
                <a:spcPts val="0"/>
              </a:spcBef>
              <a:spcAft>
                <a:spcPts val="898"/>
              </a:spcAft>
            </a:pPr>
            <a:r>
              <a:rPr lang="en-US" sz="1500">
                <a:solidFill>
                  <a:srgbClr val="FFFFFF"/>
                </a:solidFill>
                <a:latin typeface="Arial"/>
                <a:ea typeface="ＭＳ Ｐゴシック"/>
              </a:rPr>
              <a:t>This capability framework shows how the PPM processes and PPM sub-process intersect</a:t>
            </a:r>
            <a:endParaRPr lang="en-US" sz="150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8480" y="1276843"/>
            <a:ext cx="9611954" cy="332671"/>
          </a:xfrm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90"/>
              </a:lnSpc>
            </a:pPr>
            <a:r>
              <a:rPr lang="en-US">
                <a:solidFill>
                  <a:srgbClr val="005F86"/>
                </a:solidFill>
                <a:latin typeface="Arial" panose="020B0604020202020204" pitchFamily="34" charset="0"/>
              </a:rPr>
              <a:t>PPM Capability Framework</a:t>
            </a:r>
          </a:p>
        </p:txBody>
      </p:sp>
      <p:sp>
        <p:nvSpPr>
          <p:cNvPr id="118" name="Slide Number Placeholder 1"/>
          <p:cNvSpPr txBox="1">
            <a:spLocks/>
          </p:cNvSpPr>
          <p:nvPr/>
        </p:nvSpPr>
        <p:spPr bwMode="auto">
          <a:xfrm>
            <a:off x="1330827" y="5554948"/>
            <a:ext cx="282668" cy="273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68410" tIns="34205" rIns="68410" bIns="34205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eaLnBrk="1" hangingPunct="1">
              <a:defRPr sz="1200" b="1">
                <a:solidFill>
                  <a:schemeClr val="bg1"/>
                </a:solidFill>
                <a:cs typeface="Arial" pitchFamily="34" charset="0"/>
              </a:defRPr>
            </a:lvl1pPr>
            <a:lvl2pPr marL="557213" indent="-214313" eaLnBrk="0" hangingPunct="0">
              <a:defRPr sz="1800"/>
            </a:lvl2pPr>
            <a:lvl3pPr marL="857250" indent="-171450" eaLnBrk="0" hangingPunct="0">
              <a:defRPr sz="1800"/>
            </a:lvl3pPr>
            <a:lvl4pPr marL="1200150" indent="-171450" eaLnBrk="0" hangingPunct="0">
              <a:defRPr sz="1800"/>
            </a:lvl4pPr>
            <a:lvl5pPr marL="1543050" indent="-171450" eaLnBrk="0" hangingPunct="0">
              <a:defRPr sz="1800"/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800"/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800"/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800"/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800"/>
            </a:lvl9pPr>
          </a:lstStyle>
          <a:p>
            <a:pPr defTabSz="684087"/>
            <a:r>
              <a:rPr lang="en-US" altLang="en-US" sz="898">
                <a:solidFill>
                  <a:prstClr val="white"/>
                </a:solidFill>
              </a:rPr>
              <a:t>5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480" y="2106391"/>
            <a:ext cx="8209240" cy="35889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E2B4ADA-93C4-4A59-8118-83A2E453963B}"/>
              </a:ext>
            </a:extLst>
          </p:cNvPr>
          <p:cNvCxnSpPr/>
          <p:nvPr/>
        </p:nvCxnSpPr>
        <p:spPr>
          <a:xfrm>
            <a:off x="467380" y="1661733"/>
            <a:ext cx="8209241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3CD2DC5F-621E-48F4-A34B-F2C7C298CE46}"/>
              </a:ext>
            </a:extLst>
          </p:cNvPr>
          <p:cNvSpPr txBox="1">
            <a:spLocks/>
          </p:cNvSpPr>
          <p:nvPr/>
        </p:nvSpPr>
        <p:spPr>
          <a:xfrm>
            <a:off x="8561541" y="5693649"/>
            <a:ext cx="115416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 defTabSz="912116"/>
            <a:fld id="{746372F0-8F5B-47E8-9A0C-8905EFF44332}" type="slidenum">
              <a:rPr lang="en-US" sz="798">
                <a:solidFill>
                  <a:srgbClr val="000000">
                    <a:tint val="75000"/>
                  </a:srgbClr>
                </a:solidFill>
              </a:rPr>
              <a:pPr defTabSz="912116"/>
              <a:t>3</a:t>
            </a:fld>
            <a:endParaRPr lang="en-US" sz="798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AF8794E-C041-4205-965D-63E8BC1DEE7A}"/>
              </a:ext>
            </a:extLst>
          </p:cNvPr>
          <p:cNvSpPr txBox="1"/>
          <p:nvPr/>
        </p:nvSpPr>
        <p:spPr>
          <a:xfrm>
            <a:off x="5670987" y="5693650"/>
            <a:ext cx="2398722" cy="1227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defTabSz="912116" eaLnBrk="1" hangingPunct="1"/>
            <a:r>
              <a:rPr lang="en-US" altLang="en-US" sz="798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798">
                <a:solidFill>
                  <a:srgbClr val="959595"/>
                </a:solidFill>
                <a:cs typeface="Arial" pitchFamily="34" charset="0"/>
              </a:rPr>
              <a:t>2021</a:t>
            </a:r>
            <a:r>
              <a:rPr lang="en-US" altLang="en-US" sz="798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798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EA5688-807A-4C30-B2F4-F7CC14B24730}"/>
              </a:ext>
            </a:extLst>
          </p:cNvPr>
          <p:cNvSpPr txBox="1"/>
          <p:nvPr/>
        </p:nvSpPr>
        <p:spPr>
          <a:xfrm>
            <a:off x="7072779" y="863614"/>
            <a:ext cx="2059911" cy="155748"/>
          </a:xfrm>
          <a:prstGeom prst="rect">
            <a:avLst/>
          </a:prstGeom>
          <a:solidFill>
            <a:srgbClr val="007681"/>
          </a:solidFill>
        </p:spPr>
        <p:txBody>
          <a:bodyPr wrap="square" lIns="68580" tIns="34290" rIns="68580" bIns="34290" anchor="t">
            <a:spAutoFit/>
          </a:bodyPr>
          <a:lstStyle/>
          <a:p>
            <a:pPr defTabSz="912116"/>
            <a:r>
              <a:rPr lang="en-US" sz="562">
                <a:solidFill>
                  <a:srgbClr val="FFFFFF"/>
                </a:solidFill>
                <a:latin typeface="Arial"/>
                <a:ea typeface="ＭＳ Ｐゴシック"/>
                <a:cs typeface="Arial"/>
              </a:rPr>
              <a:t>Portfolio and Project  Management (PPM) 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1806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6566" y="1190445"/>
            <a:ext cx="7657434" cy="495423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8CFFB3CD-9A36-4C92-861E-CD114763C6BE}"/>
              </a:ext>
            </a:extLst>
          </p:cNvPr>
          <p:cNvSpPr txBox="1">
            <a:spLocks/>
          </p:cNvSpPr>
          <p:nvPr/>
        </p:nvSpPr>
        <p:spPr>
          <a:xfrm>
            <a:off x="249238" y="150496"/>
            <a:ext cx="8535987" cy="64008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rgbClr val="9E2A2F"/>
                </a:solidFill>
                <a:latin typeface="Arial"/>
                <a:ea typeface="ヒラギノ角ゴ Pro W3" pitchFamily="125" charset="-128"/>
                <a:cs typeface="Arial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E2A2F"/>
                </a:solidFill>
                <a:latin typeface="Arial" pitchFamily="34" charset="0"/>
                <a:ea typeface="ヒラギノ角ゴ Pro W3" pitchFamily="125" charset="-128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E2A2F"/>
                </a:solidFill>
                <a:latin typeface="Arial" pitchFamily="34" charset="0"/>
                <a:ea typeface="ヒラギノ角ゴ Pro W3" pitchFamily="125" charset="-128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E2A2F"/>
                </a:solidFill>
                <a:latin typeface="Arial" pitchFamily="34" charset="0"/>
                <a:ea typeface="ヒラギノ角ゴ Pro W3" pitchFamily="125" charset="-128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E2A2F"/>
                </a:solidFill>
                <a:latin typeface="Arial" pitchFamily="34" charset="0"/>
                <a:ea typeface="ヒラギノ角ゴ Pro W3" pitchFamily="125" charset="-128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A22B38"/>
                </a:solidFill>
                <a:latin typeface="Arial" pitchFamily="34" charset="0"/>
                <a:ea typeface="ヒラギノ角ゴ Pro W3" pitchFamily="125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A22B38"/>
                </a:solidFill>
                <a:latin typeface="Arial" pitchFamily="34" charset="0"/>
                <a:ea typeface="ヒラギノ角ゴ Pro W3" pitchFamily="125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A22B38"/>
                </a:solidFill>
                <a:latin typeface="Arial" pitchFamily="34" charset="0"/>
                <a:ea typeface="ヒラギノ角ゴ Pro W3" pitchFamily="125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A22B38"/>
                </a:solidFill>
                <a:latin typeface="Arial" pitchFamily="34" charset="0"/>
                <a:ea typeface="ヒラギノ角ゴ Pro W3" pitchFamily="125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519137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Arial"/>
              </a:rPr>
              <a:t>Cargill PPM Process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519137"/>
              </a:solidFill>
              <a:effectLst/>
              <a:uLnTx/>
              <a:uFillTx/>
              <a:latin typeface="Arial"/>
              <a:ea typeface="ヒラギノ角ゴ Pro W3" pitchFamily="125" charset="-128"/>
              <a:cs typeface="Arial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9E4D3C7-A4E0-419D-B344-F7D25A2EB6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DF1AFCE-D540-41EE-B441-3ED6DEB25CDC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 pitchFamily="34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FBFCB62-4314-4AA3-809C-55CC211D5D6F}"/>
              </a:ext>
            </a:extLst>
          </p:cNvPr>
          <p:cNvSpPr/>
          <p:nvPr/>
        </p:nvSpPr>
        <p:spPr>
          <a:xfrm>
            <a:off x="1836174" y="4092677"/>
            <a:ext cx="6850626" cy="1150375"/>
          </a:xfrm>
          <a:prstGeom prst="rect">
            <a:avLst/>
          </a:prstGeom>
          <a:noFill/>
          <a:ln>
            <a:solidFill>
              <a:srgbClr val="A22B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93322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EA36D9D-2276-474A-BB73-CDCAB53205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2458" y="6353252"/>
            <a:ext cx="312906" cy="230832"/>
          </a:xfrm>
        </p:spPr>
        <p:txBody>
          <a:bodyPr/>
          <a:lstStyle/>
          <a:p>
            <a:fld id="{3DF1AFCE-D540-41EE-B441-3ED6DEB25CDC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F2454A9-6FED-F607-E208-0E2664DF5A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537" y="1222234"/>
            <a:ext cx="7977635" cy="458180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9DB7C639-2E09-7F5D-BF64-EBEFD57613E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21943" y="397625"/>
            <a:ext cx="7700113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5F86"/>
                </a:solidFill>
                <a:latin typeface="Arial" panose="020B0604020202020204" pitchFamily="34" charset="0"/>
              </a:rPr>
              <a:t>PDP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51215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8213F5-50D1-6B30-A161-AEB17A2A09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oles &amp; Responsibilities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C804A6-803B-A93E-CFF7-A2FAADE168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6372F0-8F5B-47E8-9A0C-8905EFF4433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2A5F3D-2C45-28F8-378A-8A2AE338AF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US" dirty="0">
              <a:cs typeface="Arial" charset="0"/>
            </a:endParaRP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78C412E4-26A1-3E3A-E7ED-481E7D8E0C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70433501"/>
              </p:ext>
            </p:extLst>
          </p:nvPr>
        </p:nvGraphicFramePr>
        <p:xfrm>
          <a:off x="457200" y="809762"/>
          <a:ext cx="8229600" cy="54177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384064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5780C-106B-A3B6-CC1D-5E00C5B776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ilvoorde review teams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DEB875F-8308-FCBD-DA68-96C7293884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6372F0-8F5B-47E8-9A0C-8905EFF4433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612A3B-82B2-70D9-087B-F44A428D3E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US" dirty="0">
              <a:cs typeface="Arial" charset="0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94C9E68-85B1-D7C5-3CF0-09F2B45694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5863503"/>
              </p:ext>
            </p:extLst>
          </p:nvPr>
        </p:nvGraphicFramePr>
        <p:xfrm>
          <a:off x="0" y="1501541"/>
          <a:ext cx="9143999" cy="3946350"/>
        </p:xfrm>
        <a:graphic>
          <a:graphicData uri="http://schemas.openxmlformats.org/drawingml/2006/table">
            <a:tbl>
              <a:tblPr/>
              <a:tblGrid>
                <a:gridCol w="2157841">
                  <a:extLst>
                    <a:ext uri="{9D8B030D-6E8A-4147-A177-3AD203B41FA5}">
                      <a16:colId xmlns:a16="http://schemas.microsoft.com/office/drawing/2014/main" val="2242112876"/>
                    </a:ext>
                  </a:extLst>
                </a:gridCol>
                <a:gridCol w="798759">
                  <a:extLst>
                    <a:ext uri="{9D8B030D-6E8A-4147-A177-3AD203B41FA5}">
                      <a16:colId xmlns:a16="http://schemas.microsoft.com/office/drawing/2014/main" val="710999476"/>
                    </a:ext>
                  </a:extLst>
                </a:gridCol>
                <a:gridCol w="965663">
                  <a:extLst>
                    <a:ext uri="{9D8B030D-6E8A-4147-A177-3AD203B41FA5}">
                      <a16:colId xmlns:a16="http://schemas.microsoft.com/office/drawing/2014/main" val="2135335479"/>
                    </a:ext>
                  </a:extLst>
                </a:gridCol>
                <a:gridCol w="965663">
                  <a:extLst>
                    <a:ext uri="{9D8B030D-6E8A-4147-A177-3AD203B41FA5}">
                      <a16:colId xmlns:a16="http://schemas.microsoft.com/office/drawing/2014/main" val="2245001070"/>
                    </a:ext>
                  </a:extLst>
                </a:gridCol>
                <a:gridCol w="1835954">
                  <a:extLst>
                    <a:ext uri="{9D8B030D-6E8A-4147-A177-3AD203B41FA5}">
                      <a16:colId xmlns:a16="http://schemas.microsoft.com/office/drawing/2014/main" val="3904015510"/>
                    </a:ext>
                  </a:extLst>
                </a:gridCol>
                <a:gridCol w="572245">
                  <a:extLst>
                    <a:ext uri="{9D8B030D-6E8A-4147-A177-3AD203B41FA5}">
                      <a16:colId xmlns:a16="http://schemas.microsoft.com/office/drawing/2014/main" val="2204270858"/>
                    </a:ext>
                  </a:extLst>
                </a:gridCol>
                <a:gridCol w="572245">
                  <a:extLst>
                    <a:ext uri="{9D8B030D-6E8A-4147-A177-3AD203B41FA5}">
                      <a16:colId xmlns:a16="http://schemas.microsoft.com/office/drawing/2014/main" val="183647113"/>
                    </a:ext>
                  </a:extLst>
                </a:gridCol>
                <a:gridCol w="1275629">
                  <a:extLst>
                    <a:ext uri="{9D8B030D-6E8A-4147-A177-3AD203B41FA5}">
                      <a16:colId xmlns:a16="http://schemas.microsoft.com/office/drawing/2014/main" val="81055951"/>
                    </a:ext>
                  </a:extLst>
                </a:gridCol>
              </a:tblGrid>
              <a:tr h="585840"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hnical review (SMEs)</a:t>
                      </a:r>
                    </a:p>
                  </a:txBody>
                  <a:tcPr marL="5365" marR="5365" marT="53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ug&amp;Play </a:t>
                      </a:r>
                    </a:p>
                  </a:txBody>
                  <a:tcPr marL="5365" marR="5365" marT="53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cess equipment with  engineering </a:t>
                      </a:r>
                    </a:p>
                  </a:txBody>
                  <a:tcPr marL="5365" marR="5365" marT="53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Infrastructure </a:t>
                      </a:r>
                    </a:p>
                  </a:txBody>
                  <a:tcPr marL="5365" marR="5365" marT="53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9231249"/>
                  </a:ext>
                </a:extLst>
              </a:tr>
              <a:tr h="186695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HS SME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HSVF0079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k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wer App Eng Plan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8793780"/>
                  </a:ext>
                </a:extLst>
              </a:tr>
              <a:tr h="186695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S SME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f applicable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ncent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yPPM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9390987"/>
                  </a:ext>
                </a:extLst>
              </a:tr>
              <a:tr h="186695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IA SME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anz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utside my PPM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090542"/>
                  </a:ext>
                </a:extLst>
              </a:tr>
              <a:tr h="186695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ons&amp; Eng lead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s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 </a:t>
                      </a: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0065939"/>
                  </a:ext>
                </a:extLst>
              </a:tr>
              <a:tr h="186695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T SME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f applicable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f applicable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lobal IT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916067"/>
                  </a:ext>
                </a:extLst>
              </a:tr>
              <a:tr h="186695"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0615890"/>
                  </a:ext>
                </a:extLst>
              </a:tr>
              <a:tr h="186695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te Approval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ctical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tegic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lobal R&amp;D PRT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mes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9493112"/>
                  </a:ext>
                </a:extLst>
              </a:tr>
              <a:tr h="186695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-100K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-500K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gt; 500K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2113865"/>
                  </a:ext>
                </a:extLst>
              </a:tr>
              <a:tr h="186695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manager (submit proposal)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7351108"/>
                  </a:ext>
                </a:extLst>
              </a:tr>
              <a:tr h="186695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MO (check process adherence) 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 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ke &lt;500K, Global PRT &gt; 500K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687837"/>
                  </a:ext>
                </a:extLst>
              </a:tr>
              <a:tr h="186695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rs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6705015"/>
                  </a:ext>
                </a:extLst>
              </a:tr>
              <a:tr h="186695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ancial controller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avier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9836955"/>
                  </a:ext>
                </a:extLst>
              </a:tr>
              <a:tr h="186695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tfolio owner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s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7060418"/>
                  </a:ext>
                </a:extLst>
              </a:tr>
              <a:tr h="186695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Sponsor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4682066"/>
                  </a:ext>
                </a:extLst>
              </a:tr>
              <a:tr h="186695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ild project manager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 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885348"/>
                  </a:ext>
                </a:extLst>
              </a:tr>
              <a:tr h="186695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lobal Fin R&amp;D lead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oanne Hurst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914522"/>
                  </a:ext>
                </a:extLst>
              </a:tr>
              <a:tr h="186695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lobal  R&amp;D CAPEX process lead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591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san Creek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6106836"/>
                  </a:ext>
                </a:extLst>
              </a:tr>
              <a:tr h="186695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&amp;D Leaders = Portfolio review team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 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Wingdings" panose="05000000000000000000" pitchFamily="2" charset="2"/>
                        </a:rPr>
                        <a:t>ü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LT </a:t>
                      </a: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65" marR="5365" marT="53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63380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00973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fld id="{3DF1AFCE-D540-41EE-B441-3ED6DEB25CDC}" type="slidenum">
              <a:rPr lang="en-US">
                <a:solidFill>
                  <a:prstClr val="white"/>
                </a:solidFill>
                <a:latin typeface="Helvetica"/>
                <a:ea typeface="+mn-ea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t>8</a:t>
            </a:fld>
            <a:endParaRPr lang="en-US">
              <a:solidFill>
                <a:prstClr val="white"/>
              </a:solidFill>
              <a:latin typeface="Helvetica"/>
              <a:ea typeface="+mn-ea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932685" y="654388"/>
            <a:ext cx="7159755" cy="37895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3600" b="1" kern="1200">
                <a:solidFill>
                  <a:srgbClr val="005C84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800" fontAlgn="auto">
              <a:lnSpc>
                <a:spcPct val="100000"/>
              </a:lnSpc>
              <a:spcAft>
                <a:spcPts val="0"/>
              </a:spcAft>
              <a:defRPr/>
            </a:pPr>
            <a:r>
              <a:rPr lang="fr-FR" sz="1600" dirty="0">
                <a:solidFill>
                  <a:srgbClr val="005F86"/>
                </a:solidFill>
                <a:latin typeface="Arial" panose="020B0604020202020204" pitchFamily="34" charset="0"/>
              </a:rPr>
              <a:t>Meeting Cadence</a:t>
            </a:r>
            <a:endParaRPr lang="en-US" sz="1600" dirty="0">
              <a:latin typeface="Helvetica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6806271"/>
              </p:ext>
            </p:extLst>
          </p:nvPr>
        </p:nvGraphicFramePr>
        <p:xfrm>
          <a:off x="1088752" y="1229593"/>
          <a:ext cx="6966495" cy="43442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589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67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67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67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867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8679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8679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8679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52764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>
                          <a:effectLst/>
                        </a:rPr>
                        <a:t> 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u="none" strike="noStrike">
                          <a:effectLst/>
                        </a:rPr>
                        <a:t>Daily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u="none" strike="noStrike">
                          <a:effectLst/>
                        </a:rPr>
                        <a:t>Weekly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u="none" strike="noStrike">
                          <a:effectLst/>
                        </a:rPr>
                        <a:t>Monthly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u="none" strike="noStrike">
                          <a:effectLst/>
                        </a:rPr>
                        <a:t>Quarterly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u="none" strike="noStrike">
                          <a:effectLst/>
                        </a:rPr>
                        <a:t>Semi-Annual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239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u="none" strike="noStrike" dirty="0">
                          <a:effectLst/>
                        </a:rPr>
                        <a:t>Tier 5</a:t>
                      </a:r>
                    </a:p>
                    <a:p>
                      <a:pPr algn="ctr" fontAlgn="ctr"/>
                      <a:endParaRPr lang="en-US" sz="700" b="1" u="none" strike="noStrike" dirty="0">
                        <a:effectLst/>
                      </a:endParaRPr>
                    </a:p>
                    <a:p>
                      <a:pPr algn="ctr" fontAlgn="ctr"/>
                      <a:r>
                        <a:rPr lang="en-US" sz="700" b="1" u="none" strike="noStrike" dirty="0">
                          <a:effectLst/>
                        </a:rPr>
                        <a:t>Global LT </a:t>
                      </a:r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</a:rPr>
                        <a:t> 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</a:rPr>
                        <a:t> 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</a:rPr>
                        <a:t> 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</a:rPr>
                        <a:t> 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</a:rPr>
                        <a:t> 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</a:rPr>
                        <a:t> 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</a:rPr>
                        <a:t> 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7239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u="none" strike="noStrike" dirty="0">
                          <a:effectLst/>
                        </a:rPr>
                        <a:t>Tier 4</a:t>
                      </a:r>
                    </a:p>
                    <a:p>
                      <a:pPr algn="ctr" fontAlgn="ctr"/>
                      <a:r>
                        <a:rPr lang="en-US" sz="700" b="1" u="none" strike="noStrike" dirty="0">
                          <a:effectLst/>
                        </a:rPr>
                        <a:t>Local LT: </a:t>
                      </a:r>
                    </a:p>
                    <a:p>
                      <a:pPr algn="ctr" fontAlgn="ctr"/>
                      <a:r>
                        <a:rPr lang="en-US" sz="700" b="1" u="none" strike="noStrike" dirty="0">
                          <a:effectLst/>
                        </a:rPr>
                        <a:t>Site Leadership</a:t>
                      </a:r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</a:rPr>
                        <a:t> 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</a:rPr>
                        <a:t> 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</a:rPr>
                        <a:t> 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</a:rPr>
                        <a:t> 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</a:rPr>
                        <a:t> 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</a:rPr>
                        <a:t> 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</a:rPr>
                        <a:t> 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239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u="none" strike="noStrike" dirty="0">
                          <a:effectLst/>
                        </a:rPr>
                        <a:t>Tier 3</a:t>
                      </a:r>
                    </a:p>
                    <a:p>
                      <a:pPr algn="ctr" fontAlgn="ctr"/>
                      <a:endParaRPr lang="en-US" sz="700" b="1" u="none" strike="noStrike" dirty="0">
                        <a:effectLst/>
                      </a:endParaRPr>
                    </a:p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rea supervisors, PM, SME’s </a:t>
                      </a:r>
                    </a:p>
                  </a:txBody>
                  <a:tcPr marL="5051" marR="5051" marT="5051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</a:rPr>
                        <a:t> 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</a:rPr>
                        <a:t> 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</a:rPr>
                        <a:t> 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</a:rPr>
                        <a:t> 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</a:rPr>
                        <a:t> 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</a:rPr>
                        <a:t> 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</a:rPr>
                        <a:t> 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7239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u="none" strike="noStrike" dirty="0">
                          <a:effectLst/>
                        </a:rPr>
                        <a:t>Tier 2</a:t>
                      </a:r>
                    </a:p>
                    <a:p>
                      <a:pPr algn="ctr" fontAlgn="ctr"/>
                      <a:endParaRPr lang="en-US" sz="700" b="1" u="none" strike="noStrike" dirty="0">
                        <a:effectLst/>
                      </a:endParaRPr>
                    </a:p>
                    <a:p>
                      <a:pPr algn="ctr" fontAlgn="ctr"/>
                      <a:r>
                        <a:rPr lang="en-US" sz="700" b="1" u="none" strike="noStrike" dirty="0">
                          <a:effectLst/>
                        </a:rPr>
                        <a:t>Project team</a:t>
                      </a:r>
                    </a:p>
                    <a:p>
                      <a:pPr algn="ctr" fontAlgn="ctr"/>
                      <a:r>
                        <a:rPr lang="en-US" sz="700" b="1" u="none" strike="noStrike" dirty="0">
                          <a:effectLst/>
                        </a:rPr>
                        <a:t>Functional teams  </a:t>
                      </a:r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</a:rPr>
                        <a:t> 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</a:rPr>
                        <a:t> 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</a:rPr>
                        <a:t> 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</a:rPr>
                        <a:t> 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</a:rPr>
                        <a:t> 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</a:rPr>
                        <a:t> 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</a:rPr>
                        <a:t> 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0189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u="none" strike="noStrike" dirty="0">
                          <a:effectLst/>
                        </a:rPr>
                        <a:t>Tier 1</a:t>
                      </a:r>
                    </a:p>
                    <a:p>
                      <a:pPr algn="ctr" fontAlgn="ctr"/>
                      <a:endParaRPr lang="en-US" sz="700" b="1" u="none" strike="noStrike" dirty="0">
                        <a:effectLst/>
                      </a:endParaRPr>
                    </a:p>
                    <a:p>
                      <a:pPr algn="ctr" fontAlgn="ctr"/>
                      <a:r>
                        <a:rPr lang="en-US" sz="700" b="1" u="none" strike="noStrike" dirty="0">
                          <a:effectLst/>
                        </a:rPr>
                        <a:t>PM/BPM, contractors </a:t>
                      </a:r>
                      <a:endParaRPr lang="en-US" sz="7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</a:rPr>
                        <a:t> 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</a:rPr>
                        <a:t> 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</a:rPr>
                        <a:t> 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</a:rPr>
                        <a:t> 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</a:rPr>
                        <a:t> 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</a:rPr>
                        <a:t> 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</a:rPr>
                        <a:t> 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051" marR="5051" marT="5051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9" name="Rectangle 43">
            <a:hlinkClick r:id="" action="ppaction://noaction"/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618684" y="4028341"/>
            <a:ext cx="633413" cy="529457"/>
          </a:xfrm>
          <a:prstGeom prst="rect">
            <a:avLst/>
          </a:prstGeom>
          <a:ln>
            <a:solidFill>
              <a:srgbClr val="000000"/>
            </a:solidFill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 anchorCtr="1"/>
          <a:lstStyle/>
          <a:p>
            <a:pPr algn="ctr" defTabSz="685800" fontAlgn="auto">
              <a:spcBef>
                <a:spcPct val="20000"/>
              </a:spcBef>
              <a:spcAft>
                <a:spcPts val="0"/>
              </a:spcAft>
              <a:buSzPct val="90000"/>
              <a:defRPr/>
            </a:pPr>
            <a:r>
              <a:rPr lang="en-US" sz="750" dirty="0">
                <a:solidFill>
                  <a:prstClr val="white"/>
                </a:solidFill>
                <a:latin typeface="Helvetica"/>
              </a:rPr>
              <a:t>Project team  meeting / workstream meeting </a:t>
            </a:r>
          </a:p>
        </p:txBody>
      </p:sp>
      <p:sp>
        <p:nvSpPr>
          <p:cNvPr id="21" name="Rectangle 4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723117" y="4749709"/>
            <a:ext cx="673894" cy="501848"/>
          </a:xfrm>
          <a:prstGeom prst="rect">
            <a:avLst/>
          </a:prstGeom>
          <a:ln>
            <a:solidFill>
              <a:srgbClr val="000000"/>
            </a:solidFill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 anchorCtr="1"/>
          <a:lstStyle/>
          <a:p>
            <a:pPr algn="ctr" defTabSz="685800" fontAlgn="auto">
              <a:spcBef>
                <a:spcPct val="20000"/>
              </a:spcBef>
              <a:spcAft>
                <a:spcPts val="0"/>
              </a:spcAft>
              <a:buSzPct val="90000"/>
              <a:defRPr/>
            </a:pPr>
            <a:r>
              <a:rPr lang="en-US" sz="750" dirty="0">
                <a:solidFill>
                  <a:prstClr val="white"/>
                </a:solidFill>
                <a:latin typeface="Helvetica"/>
              </a:rPr>
              <a:t>Practical problem </a:t>
            </a:r>
          </a:p>
          <a:p>
            <a:pPr algn="ctr" defTabSz="685800" fontAlgn="auto">
              <a:spcBef>
                <a:spcPct val="20000"/>
              </a:spcBef>
              <a:spcAft>
                <a:spcPts val="0"/>
              </a:spcAft>
              <a:buSzPct val="90000"/>
              <a:defRPr/>
            </a:pPr>
            <a:r>
              <a:rPr lang="en-US" sz="750" dirty="0">
                <a:solidFill>
                  <a:prstClr val="white"/>
                </a:solidFill>
                <a:latin typeface="Helvetica"/>
              </a:rPr>
              <a:t>Solving on –site </a:t>
            </a:r>
          </a:p>
        </p:txBody>
      </p:sp>
      <p:sp>
        <p:nvSpPr>
          <p:cNvPr id="37" name="Rectangle 67">
            <a:hlinkClick r:id="" action="ppaction://noaction"/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479380" y="3260094"/>
            <a:ext cx="634603" cy="533700"/>
          </a:xfrm>
          <a:prstGeom prst="rect">
            <a:avLst/>
          </a:prstGeom>
          <a:ln>
            <a:solidFill>
              <a:srgbClr val="000000"/>
            </a:solidFill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 anchorCtr="1"/>
          <a:lstStyle/>
          <a:p>
            <a:pPr algn="ctr" defTabSz="685800" fontAlgn="auto">
              <a:spcBef>
                <a:spcPct val="20000"/>
              </a:spcBef>
              <a:spcAft>
                <a:spcPts val="0"/>
              </a:spcAft>
              <a:buSzPct val="90000"/>
              <a:defRPr/>
            </a:pPr>
            <a:r>
              <a:rPr lang="en-US" sz="750" dirty="0">
                <a:solidFill>
                  <a:prstClr val="white"/>
                </a:solidFill>
                <a:latin typeface="Helvetica"/>
              </a:rPr>
              <a:t>Monthly CAPEX execution   Meeting</a:t>
            </a:r>
          </a:p>
        </p:txBody>
      </p:sp>
      <p:sp>
        <p:nvSpPr>
          <p:cNvPr id="53" name="Rectangle 4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294612" y="1656971"/>
            <a:ext cx="649953" cy="584597"/>
          </a:xfrm>
          <a:prstGeom prst="rect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algn="ctr" defTabSz="685800" fontAlgn="auto">
              <a:spcBef>
                <a:spcPct val="20000"/>
              </a:spcBef>
              <a:spcAft>
                <a:spcPts val="0"/>
              </a:spcAft>
              <a:buSzPct val="90000"/>
              <a:defRPr/>
            </a:pPr>
            <a:r>
              <a:rPr lang="en-US" sz="750" dirty="0">
                <a:solidFill>
                  <a:prstClr val="white"/>
                </a:solidFill>
                <a:latin typeface="Helvetica"/>
                <a:ea typeface="+mn-ea"/>
              </a:rPr>
              <a:t>Global R&amp;D PRT </a:t>
            </a:r>
          </a:p>
        </p:txBody>
      </p:sp>
      <p:sp>
        <p:nvSpPr>
          <p:cNvPr id="66" name="Rectangle 67">
            <a:extLst>
              <a:ext uri="{FF2B5EF4-FFF2-40B4-BE49-F238E27FC236}">
                <a16:creationId xmlns:a16="http://schemas.microsoft.com/office/drawing/2014/main" id="{B1DD0A00-477E-4142-A10F-BCACE9D0F0A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468032" y="2461792"/>
            <a:ext cx="707121" cy="575216"/>
          </a:xfrm>
          <a:prstGeom prst="rect">
            <a:avLst/>
          </a:prstGeom>
          <a:solidFill>
            <a:srgbClr val="007A87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algn="ctr" defTabSz="685800" fontAlgn="auto">
              <a:spcBef>
                <a:spcPct val="20000"/>
              </a:spcBef>
              <a:spcAft>
                <a:spcPts val="0"/>
              </a:spcAft>
              <a:buSzPct val="90000"/>
              <a:defRPr/>
            </a:pPr>
            <a:r>
              <a:rPr lang="en-US" sz="750" dirty="0">
                <a:solidFill>
                  <a:prstClr val="white"/>
                </a:solidFill>
                <a:latin typeface="Helvetica"/>
                <a:ea typeface="+mn-ea"/>
              </a:rPr>
              <a:t>Business CAPEX meeting (Escalation) </a:t>
            </a:r>
          </a:p>
        </p:txBody>
      </p:sp>
      <p:sp>
        <p:nvSpPr>
          <p:cNvPr id="80" name="Rectangle 44">
            <a:extLst>
              <a:ext uri="{FF2B5EF4-FFF2-40B4-BE49-F238E27FC236}">
                <a16:creationId xmlns:a16="http://schemas.microsoft.com/office/drawing/2014/main" id="{6A060852-8081-4956-9FBD-ACAED33D78E9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302655" y="2466560"/>
            <a:ext cx="678554" cy="584597"/>
          </a:xfrm>
          <a:prstGeom prst="rect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buSzPct val="90000"/>
              <a:defRPr/>
            </a:pPr>
            <a:r>
              <a:rPr lang="en-US" sz="750" dirty="0">
                <a:solidFill>
                  <a:prstClr val="white"/>
                </a:solidFill>
                <a:latin typeface="Helvetica"/>
                <a:ea typeface="+mn-ea"/>
              </a:rPr>
              <a:t>Portfolio Review Team (PRT=VLT)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CEE2AEB-619B-4901-8FFB-CFAC52A39794}"/>
              </a:ext>
            </a:extLst>
          </p:cNvPr>
          <p:cNvSpPr txBox="1"/>
          <p:nvPr/>
        </p:nvSpPr>
        <p:spPr>
          <a:xfrm rot="19135621">
            <a:off x="6207488" y="3546545"/>
            <a:ext cx="7536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>
                <a:solidFill>
                  <a:prstClr val="black"/>
                </a:solidFill>
                <a:latin typeface="Helvetica"/>
                <a:ea typeface="+mn-ea"/>
              </a:rPr>
              <a:t>Strategy Cascaded</a:t>
            </a:r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ECB68973-1CC0-4043-897B-7F4D9F16200F}"/>
              </a:ext>
            </a:extLst>
          </p:cNvPr>
          <p:cNvSpPr/>
          <p:nvPr/>
        </p:nvSpPr>
        <p:spPr>
          <a:xfrm rot="10628138">
            <a:off x="6163926" y="3232049"/>
            <a:ext cx="548050" cy="426281"/>
          </a:xfrm>
          <a:custGeom>
            <a:avLst/>
            <a:gdLst>
              <a:gd name="connsiteX0" fmla="*/ 2489703 w 2489703"/>
              <a:gd name="connsiteY0" fmla="*/ 0 h 1910281"/>
              <a:gd name="connsiteX1" fmla="*/ 769544 w 2489703"/>
              <a:gd name="connsiteY1" fmla="*/ 579421 h 1910281"/>
              <a:gd name="connsiteX2" fmla="*/ 0 w 2489703"/>
              <a:gd name="connsiteY2" fmla="*/ 1910281 h 191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89703" h="1910281">
                <a:moveTo>
                  <a:pt x="2489703" y="0"/>
                </a:moveTo>
                <a:cubicBezTo>
                  <a:pt x="1837098" y="130520"/>
                  <a:pt x="1184494" y="261041"/>
                  <a:pt x="769544" y="579421"/>
                </a:cubicBezTo>
                <a:cubicBezTo>
                  <a:pt x="354594" y="897801"/>
                  <a:pt x="177297" y="1404041"/>
                  <a:pt x="0" y="1910281"/>
                </a:cubicBezTo>
              </a:path>
            </a:pathLst>
          </a:custGeom>
          <a:ln w="57150">
            <a:solidFill>
              <a:srgbClr val="D7A900"/>
            </a:solidFill>
            <a:headEnd type="triangle" w="med" len="med"/>
            <a:tailEnd type="none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>
              <a:solidFill>
                <a:prstClr val="black"/>
              </a:solidFill>
              <a:latin typeface="Helvetica"/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EF836421-53E4-4B54-9B2C-682990DCEC31}"/>
              </a:ext>
            </a:extLst>
          </p:cNvPr>
          <p:cNvSpPr/>
          <p:nvPr/>
        </p:nvSpPr>
        <p:spPr>
          <a:xfrm rot="12499006" flipH="1" flipV="1">
            <a:off x="4169151" y="4163390"/>
            <a:ext cx="232760" cy="518661"/>
          </a:xfrm>
          <a:custGeom>
            <a:avLst/>
            <a:gdLst>
              <a:gd name="connsiteX0" fmla="*/ 2489703 w 2489703"/>
              <a:gd name="connsiteY0" fmla="*/ 0 h 1910281"/>
              <a:gd name="connsiteX1" fmla="*/ 769544 w 2489703"/>
              <a:gd name="connsiteY1" fmla="*/ 579421 h 1910281"/>
              <a:gd name="connsiteX2" fmla="*/ 0 w 2489703"/>
              <a:gd name="connsiteY2" fmla="*/ 1910281 h 191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89703" h="1910281">
                <a:moveTo>
                  <a:pt x="2489703" y="0"/>
                </a:moveTo>
                <a:cubicBezTo>
                  <a:pt x="1837098" y="130520"/>
                  <a:pt x="1184494" y="261041"/>
                  <a:pt x="769544" y="579421"/>
                </a:cubicBezTo>
                <a:cubicBezTo>
                  <a:pt x="354594" y="897801"/>
                  <a:pt x="177297" y="1404041"/>
                  <a:pt x="0" y="1910281"/>
                </a:cubicBezTo>
              </a:path>
            </a:pathLst>
          </a:custGeom>
          <a:ln w="57150">
            <a:solidFill>
              <a:srgbClr val="007A87"/>
            </a:solidFill>
            <a:headEnd type="triangle" w="med" len="med"/>
            <a:tailEnd type="none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>
              <a:solidFill>
                <a:prstClr val="black"/>
              </a:solidFill>
              <a:latin typeface="Helvetica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F119D4FA-B1A7-4A07-9F4E-70F2D81A5F6A}"/>
              </a:ext>
            </a:extLst>
          </p:cNvPr>
          <p:cNvSpPr/>
          <p:nvPr/>
        </p:nvSpPr>
        <p:spPr>
          <a:xfrm rot="20293445">
            <a:off x="5737987" y="3036626"/>
            <a:ext cx="83444" cy="208883"/>
          </a:xfrm>
          <a:custGeom>
            <a:avLst/>
            <a:gdLst>
              <a:gd name="connsiteX0" fmla="*/ 2489703 w 2489703"/>
              <a:gd name="connsiteY0" fmla="*/ 0 h 1910281"/>
              <a:gd name="connsiteX1" fmla="*/ 769544 w 2489703"/>
              <a:gd name="connsiteY1" fmla="*/ 579421 h 1910281"/>
              <a:gd name="connsiteX2" fmla="*/ 0 w 2489703"/>
              <a:gd name="connsiteY2" fmla="*/ 1910281 h 191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89703" h="1910281">
                <a:moveTo>
                  <a:pt x="2489703" y="0"/>
                </a:moveTo>
                <a:cubicBezTo>
                  <a:pt x="1837098" y="130520"/>
                  <a:pt x="1184494" y="261041"/>
                  <a:pt x="769544" y="579421"/>
                </a:cubicBezTo>
                <a:cubicBezTo>
                  <a:pt x="354594" y="897801"/>
                  <a:pt x="177297" y="1404041"/>
                  <a:pt x="0" y="1910281"/>
                </a:cubicBezTo>
              </a:path>
            </a:pathLst>
          </a:custGeom>
          <a:ln w="57150">
            <a:solidFill>
              <a:srgbClr val="007A87"/>
            </a:solidFill>
            <a:headEnd type="triangle" w="med" len="med"/>
            <a:tailEnd type="none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>
              <a:solidFill>
                <a:prstClr val="black"/>
              </a:solidFill>
              <a:latin typeface="Helvetica"/>
            </a:endParaRP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85E44B75-38DD-4A3E-8C86-184B90F64B1B}"/>
              </a:ext>
            </a:extLst>
          </p:cNvPr>
          <p:cNvSpPr/>
          <p:nvPr/>
        </p:nvSpPr>
        <p:spPr>
          <a:xfrm rot="16200000">
            <a:off x="1782595" y="2124313"/>
            <a:ext cx="1174055" cy="649953"/>
          </a:xfrm>
          <a:prstGeom prst="rightArrow">
            <a:avLst/>
          </a:prstGeom>
          <a:solidFill>
            <a:srgbClr val="007A87">
              <a:alpha val="4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50" dirty="0" err="1">
                <a:solidFill>
                  <a:prstClr val="white"/>
                </a:solidFill>
                <a:latin typeface="Arial Narrow" panose="020B0606020202030204" pitchFamily="34" charset="0"/>
              </a:rPr>
              <a:t>Operational</a:t>
            </a:r>
            <a:r>
              <a:rPr lang="it-IT" sz="1050" dirty="0">
                <a:solidFill>
                  <a:prstClr val="white"/>
                </a:solidFill>
                <a:latin typeface="Arial Narrow" panose="020B0606020202030204" pitchFamily="34" charset="0"/>
              </a:rPr>
              <a:t> Strategy review</a:t>
            </a:r>
            <a:endParaRPr lang="en-US" sz="105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75" name="Arrow: Right 74">
            <a:extLst>
              <a:ext uri="{FF2B5EF4-FFF2-40B4-BE49-F238E27FC236}">
                <a16:creationId xmlns:a16="http://schemas.microsoft.com/office/drawing/2014/main" id="{F89ACB4C-B055-4888-87B3-FF78F3864953}"/>
              </a:ext>
            </a:extLst>
          </p:cNvPr>
          <p:cNvSpPr/>
          <p:nvPr/>
        </p:nvSpPr>
        <p:spPr>
          <a:xfrm rot="5400000" flipV="1">
            <a:off x="1782595" y="3634972"/>
            <a:ext cx="1174055" cy="649953"/>
          </a:xfrm>
          <a:prstGeom prst="rightArrow">
            <a:avLst/>
          </a:prstGeom>
          <a:solidFill>
            <a:srgbClr val="64A70B">
              <a:alpha val="4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50" dirty="0">
                <a:solidFill>
                  <a:prstClr val="white"/>
                </a:solidFill>
                <a:latin typeface="Arial Narrow" panose="020B0606020202030204" pitchFamily="34" charset="0"/>
              </a:rPr>
              <a:t>Performance  </a:t>
            </a:r>
            <a:r>
              <a:rPr lang="it-IT" sz="1050" dirty="0" err="1">
                <a:solidFill>
                  <a:prstClr val="white"/>
                </a:solidFill>
                <a:latin typeface="Arial Narrow" panose="020B0606020202030204" pitchFamily="34" charset="0"/>
              </a:rPr>
              <a:t>results</a:t>
            </a:r>
            <a:r>
              <a:rPr lang="it-IT" sz="1050" dirty="0">
                <a:solidFill>
                  <a:prstClr val="white"/>
                </a:solidFill>
                <a:latin typeface="Arial Narrow" panose="020B0606020202030204" pitchFamily="34" charset="0"/>
              </a:rPr>
              <a:t> review</a:t>
            </a:r>
            <a:endParaRPr lang="en-US" sz="105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716756C9-835C-46A3-9F2B-175561C60417}"/>
              </a:ext>
            </a:extLst>
          </p:cNvPr>
          <p:cNvSpPr/>
          <p:nvPr/>
        </p:nvSpPr>
        <p:spPr>
          <a:xfrm rot="3305994">
            <a:off x="6208742" y="2655660"/>
            <a:ext cx="97308" cy="195068"/>
          </a:xfrm>
          <a:custGeom>
            <a:avLst/>
            <a:gdLst>
              <a:gd name="connsiteX0" fmla="*/ 2489703 w 2489703"/>
              <a:gd name="connsiteY0" fmla="*/ 0 h 1910281"/>
              <a:gd name="connsiteX1" fmla="*/ 769544 w 2489703"/>
              <a:gd name="connsiteY1" fmla="*/ 579421 h 1910281"/>
              <a:gd name="connsiteX2" fmla="*/ 0 w 2489703"/>
              <a:gd name="connsiteY2" fmla="*/ 1910281 h 191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89703" h="1910281">
                <a:moveTo>
                  <a:pt x="2489703" y="0"/>
                </a:moveTo>
                <a:cubicBezTo>
                  <a:pt x="1837098" y="130520"/>
                  <a:pt x="1184494" y="261041"/>
                  <a:pt x="769544" y="579421"/>
                </a:cubicBezTo>
                <a:cubicBezTo>
                  <a:pt x="354594" y="897801"/>
                  <a:pt x="177297" y="1404041"/>
                  <a:pt x="0" y="1910281"/>
                </a:cubicBezTo>
              </a:path>
            </a:pathLst>
          </a:custGeom>
          <a:ln w="57150">
            <a:solidFill>
              <a:srgbClr val="007A87"/>
            </a:solidFill>
            <a:headEnd type="triangle" w="med" len="med"/>
            <a:tailEnd type="none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b="1">
              <a:solidFill>
                <a:prstClr val="black"/>
              </a:solidFill>
              <a:latin typeface="Helvetica"/>
            </a:endParaRPr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5C30C4FD-F5A4-44D1-847B-48430263F9E8}"/>
              </a:ext>
            </a:extLst>
          </p:cNvPr>
          <p:cNvSpPr/>
          <p:nvPr/>
        </p:nvSpPr>
        <p:spPr>
          <a:xfrm rot="5841081" flipH="1">
            <a:off x="6195933" y="2824151"/>
            <a:ext cx="85945" cy="215793"/>
          </a:xfrm>
          <a:custGeom>
            <a:avLst/>
            <a:gdLst>
              <a:gd name="connsiteX0" fmla="*/ 2489703 w 2489703"/>
              <a:gd name="connsiteY0" fmla="*/ 0 h 1910281"/>
              <a:gd name="connsiteX1" fmla="*/ 769544 w 2489703"/>
              <a:gd name="connsiteY1" fmla="*/ 579421 h 1910281"/>
              <a:gd name="connsiteX2" fmla="*/ 0 w 2489703"/>
              <a:gd name="connsiteY2" fmla="*/ 1910281 h 191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89703" h="1910281">
                <a:moveTo>
                  <a:pt x="2489703" y="0"/>
                </a:moveTo>
                <a:cubicBezTo>
                  <a:pt x="1837098" y="130520"/>
                  <a:pt x="1184494" y="261041"/>
                  <a:pt x="769544" y="579421"/>
                </a:cubicBezTo>
                <a:cubicBezTo>
                  <a:pt x="354594" y="897801"/>
                  <a:pt x="177297" y="1404041"/>
                  <a:pt x="0" y="1910281"/>
                </a:cubicBezTo>
              </a:path>
            </a:pathLst>
          </a:custGeom>
          <a:ln w="57150">
            <a:solidFill>
              <a:srgbClr val="D7A900"/>
            </a:solidFill>
            <a:headEnd type="none" w="med" len="med"/>
            <a:tailEnd type="triangle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b="1">
              <a:solidFill>
                <a:prstClr val="black"/>
              </a:solidFill>
              <a:latin typeface="Helvetica"/>
            </a:endParaRP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8A868B9F-1509-417F-B195-4E336496DF51}"/>
              </a:ext>
            </a:extLst>
          </p:cNvPr>
          <p:cNvSpPr/>
          <p:nvPr/>
        </p:nvSpPr>
        <p:spPr>
          <a:xfrm rot="5841081" flipH="1">
            <a:off x="6768292" y="2234655"/>
            <a:ext cx="210020" cy="178132"/>
          </a:xfrm>
          <a:custGeom>
            <a:avLst/>
            <a:gdLst>
              <a:gd name="connsiteX0" fmla="*/ 2489703 w 2489703"/>
              <a:gd name="connsiteY0" fmla="*/ 0 h 1910281"/>
              <a:gd name="connsiteX1" fmla="*/ 769544 w 2489703"/>
              <a:gd name="connsiteY1" fmla="*/ 579421 h 1910281"/>
              <a:gd name="connsiteX2" fmla="*/ 0 w 2489703"/>
              <a:gd name="connsiteY2" fmla="*/ 1910281 h 191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89703" h="1910281">
                <a:moveTo>
                  <a:pt x="2489703" y="0"/>
                </a:moveTo>
                <a:cubicBezTo>
                  <a:pt x="1837098" y="130520"/>
                  <a:pt x="1184494" y="261041"/>
                  <a:pt x="769544" y="579421"/>
                </a:cubicBezTo>
                <a:cubicBezTo>
                  <a:pt x="354594" y="897801"/>
                  <a:pt x="177297" y="1404041"/>
                  <a:pt x="0" y="1910281"/>
                </a:cubicBezTo>
              </a:path>
            </a:pathLst>
          </a:custGeom>
          <a:ln w="57150">
            <a:solidFill>
              <a:srgbClr val="D7A900"/>
            </a:solidFill>
            <a:headEnd type="none" w="med" len="med"/>
            <a:tailEnd type="triangle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b="1">
              <a:solidFill>
                <a:prstClr val="black"/>
              </a:solidFill>
              <a:latin typeface="Helvetica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3BC86281-9E38-4B65-8807-88AC546433FE}"/>
              </a:ext>
            </a:extLst>
          </p:cNvPr>
          <p:cNvSpPr txBox="1"/>
          <p:nvPr/>
        </p:nvSpPr>
        <p:spPr>
          <a:xfrm rot="19135621">
            <a:off x="5358354" y="4261212"/>
            <a:ext cx="7536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>
                <a:solidFill>
                  <a:prstClr val="black"/>
                </a:solidFill>
                <a:latin typeface="Helvetica"/>
                <a:ea typeface="+mn-ea"/>
              </a:rPr>
              <a:t>Strategy Cascaded</a:t>
            </a:r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EB49FB9C-1EC1-4966-B2A1-A8DF680D603F}"/>
              </a:ext>
            </a:extLst>
          </p:cNvPr>
          <p:cNvSpPr/>
          <p:nvPr/>
        </p:nvSpPr>
        <p:spPr>
          <a:xfrm rot="10628138">
            <a:off x="5330253" y="3987523"/>
            <a:ext cx="548050" cy="426281"/>
          </a:xfrm>
          <a:custGeom>
            <a:avLst/>
            <a:gdLst>
              <a:gd name="connsiteX0" fmla="*/ 2489703 w 2489703"/>
              <a:gd name="connsiteY0" fmla="*/ 0 h 1910281"/>
              <a:gd name="connsiteX1" fmla="*/ 769544 w 2489703"/>
              <a:gd name="connsiteY1" fmla="*/ 579421 h 1910281"/>
              <a:gd name="connsiteX2" fmla="*/ 0 w 2489703"/>
              <a:gd name="connsiteY2" fmla="*/ 1910281 h 191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89703" h="1910281">
                <a:moveTo>
                  <a:pt x="2489703" y="0"/>
                </a:moveTo>
                <a:cubicBezTo>
                  <a:pt x="1837098" y="130520"/>
                  <a:pt x="1184494" y="261041"/>
                  <a:pt x="769544" y="579421"/>
                </a:cubicBezTo>
                <a:cubicBezTo>
                  <a:pt x="354594" y="897801"/>
                  <a:pt x="177297" y="1404041"/>
                  <a:pt x="0" y="1910281"/>
                </a:cubicBezTo>
              </a:path>
            </a:pathLst>
          </a:custGeom>
          <a:ln w="57150">
            <a:solidFill>
              <a:srgbClr val="D7A900"/>
            </a:solidFill>
            <a:headEnd type="triangle" w="med" len="med"/>
            <a:tailEnd type="none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>
              <a:solidFill>
                <a:prstClr val="black"/>
              </a:solidFill>
              <a:latin typeface="Helvetica"/>
            </a:endParaRPr>
          </a:p>
        </p:txBody>
      </p:sp>
      <p:sp>
        <p:nvSpPr>
          <p:cNvPr id="86" name="Freeform: Shape 85">
            <a:extLst>
              <a:ext uri="{FF2B5EF4-FFF2-40B4-BE49-F238E27FC236}">
                <a16:creationId xmlns:a16="http://schemas.microsoft.com/office/drawing/2014/main" id="{A1B13E8B-F23F-45A2-A083-1CEC1167E288}"/>
              </a:ext>
            </a:extLst>
          </p:cNvPr>
          <p:cNvSpPr/>
          <p:nvPr/>
        </p:nvSpPr>
        <p:spPr>
          <a:xfrm rot="719884">
            <a:off x="4871181" y="3448831"/>
            <a:ext cx="517593" cy="611535"/>
          </a:xfrm>
          <a:custGeom>
            <a:avLst/>
            <a:gdLst>
              <a:gd name="connsiteX0" fmla="*/ 2489703 w 2489703"/>
              <a:gd name="connsiteY0" fmla="*/ 0 h 1910281"/>
              <a:gd name="connsiteX1" fmla="*/ 769544 w 2489703"/>
              <a:gd name="connsiteY1" fmla="*/ 579421 h 1910281"/>
              <a:gd name="connsiteX2" fmla="*/ 0 w 2489703"/>
              <a:gd name="connsiteY2" fmla="*/ 1910281 h 191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89703" h="1910281">
                <a:moveTo>
                  <a:pt x="2489703" y="0"/>
                </a:moveTo>
                <a:cubicBezTo>
                  <a:pt x="1837098" y="130520"/>
                  <a:pt x="1184494" y="261041"/>
                  <a:pt x="769544" y="579421"/>
                </a:cubicBezTo>
                <a:cubicBezTo>
                  <a:pt x="354594" y="897801"/>
                  <a:pt x="177297" y="1404041"/>
                  <a:pt x="0" y="1910281"/>
                </a:cubicBezTo>
              </a:path>
            </a:pathLst>
          </a:custGeom>
          <a:ln w="57150">
            <a:solidFill>
              <a:srgbClr val="007A87"/>
            </a:solidFill>
            <a:headEnd type="triangle" w="med" len="med"/>
            <a:tailEnd type="none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>
              <a:solidFill>
                <a:prstClr val="black"/>
              </a:solidFill>
              <a:latin typeface="Helvetic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8476E2A-D1D9-0954-5B6F-FEE5FEEC4243}"/>
              </a:ext>
            </a:extLst>
          </p:cNvPr>
          <p:cNvSpPr txBox="1"/>
          <p:nvPr/>
        </p:nvSpPr>
        <p:spPr>
          <a:xfrm>
            <a:off x="3605965" y="4146184"/>
            <a:ext cx="7536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dirty="0">
                <a:solidFill>
                  <a:prstClr val="black"/>
                </a:solidFill>
                <a:latin typeface="Helvetica"/>
                <a:ea typeface="+mn-ea"/>
              </a:rPr>
              <a:t>Escalate 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dirty="0">
                <a:solidFill>
                  <a:prstClr val="black"/>
                </a:solidFill>
                <a:latin typeface="Helvetica"/>
                <a:ea typeface="+mn-ea"/>
              </a:rPr>
              <a:t>Issues/Info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87F64E4-7A54-246B-2826-6C476FA90568}"/>
              </a:ext>
            </a:extLst>
          </p:cNvPr>
          <p:cNvSpPr txBox="1"/>
          <p:nvPr/>
        </p:nvSpPr>
        <p:spPr>
          <a:xfrm>
            <a:off x="4793092" y="2906691"/>
            <a:ext cx="7536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dirty="0">
                <a:solidFill>
                  <a:prstClr val="black"/>
                </a:solidFill>
                <a:latin typeface="Helvetica"/>
                <a:ea typeface="+mn-ea"/>
              </a:rPr>
              <a:t>Escalate 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dirty="0">
                <a:solidFill>
                  <a:prstClr val="black"/>
                </a:solidFill>
                <a:latin typeface="Helvetica"/>
                <a:ea typeface="+mn-ea"/>
              </a:rPr>
              <a:t>Issues/Info</a:t>
            </a:r>
          </a:p>
        </p:txBody>
      </p: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64E1EC13-9FC6-0B3F-9EB0-96839570AD07}"/>
              </a:ext>
            </a:extLst>
          </p:cNvPr>
          <p:cNvCxnSpPr>
            <a:stCxn id="19" idx="2"/>
          </p:cNvCxnSpPr>
          <p:nvPr/>
        </p:nvCxnSpPr>
        <p:spPr>
          <a:xfrm rot="16200000" flipH="1">
            <a:off x="4974991" y="4518196"/>
            <a:ext cx="464786" cy="543989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87E3A70A-4077-532F-D379-554AD34F641A}"/>
              </a:ext>
            </a:extLst>
          </p:cNvPr>
          <p:cNvSpPr txBox="1"/>
          <p:nvPr/>
        </p:nvSpPr>
        <p:spPr>
          <a:xfrm>
            <a:off x="5491653" y="4799076"/>
            <a:ext cx="1738296" cy="4039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GB" sz="675" dirty="0">
                <a:solidFill>
                  <a:prstClr val="black"/>
                </a:solidFill>
                <a:latin typeface="Helvetica"/>
                <a:ea typeface="+mn-ea"/>
              </a:rPr>
              <a:t>-    Weekly Extruder</a:t>
            </a:r>
          </a:p>
          <a:p>
            <a:pPr marL="128588" indent="-128588" defTabSz="6858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GB" sz="675" dirty="0">
                <a:solidFill>
                  <a:prstClr val="black"/>
                </a:solidFill>
                <a:latin typeface="Helvetica"/>
                <a:ea typeface="+mn-ea"/>
              </a:rPr>
              <a:t>Weekly Choco Hub</a:t>
            </a:r>
          </a:p>
          <a:p>
            <a:pPr marL="128588" indent="-128588" defTabSz="6858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GB" sz="675" dirty="0">
                <a:solidFill>
                  <a:prstClr val="black"/>
                </a:solidFill>
                <a:latin typeface="Helvetica"/>
                <a:ea typeface="+mn-ea"/>
              </a:rPr>
              <a:t>Lower cadence for smaller projects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4C0CE1-9041-4A68-A4DF-3F8FF890F9E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55597" y="1534044"/>
            <a:ext cx="1895376" cy="1171687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AD28A1D-1060-9158-C3B1-FAC34937CE53}"/>
              </a:ext>
            </a:extLst>
          </p:cNvPr>
          <p:cNvCxnSpPr>
            <a:cxnSpLocks/>
            <a:endCxn id="66" idx="0"/>
          </p:cNvCxnSpPr>
          <p:nvPr/>
        </p:nvCxnSpPr>
        <p:spPr>
          <a:xfrm flipH="1">
            <a:off x="5821593" y="2274724"/>
            <a:ext cx="1435994" cy="1870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EE8E46EE-8BCF-0EC3-5CAF-C9B6290AF24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145037" y="3420933"/>
            <a:ext cx="1638384" cy="1263715"/>
          </a:xfrm>
          <a:prstGeom prst="rect">
            <a:avLst/>
          </a:prstGeom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6A2054BD-4A2B-94F5-87DF-C16CEFE73514}"/>
              </a:ext>
            </a:extLst>
          </p:cNvPr>
          <p:cNvCxnSpPr>
            <a:cxnSpLocks/>
            <a:stCxn id="15" idx="1"/>
          </p:cNvCxnSpPr>
          <p:nvPr/>
        </p:nvCxnSpPr>
        <p:spPr>
          <a:xfrm flipH="1" flipV="1">
            <a:off x="6105224" y="3760800"/>
            <a:ext cx="1039813" cy="2919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67">
            <a:extLst>
              <a:ext uri="{FF2B5EF4-FFF2-40B4-BE49-F238E27FC236}">
                <a16:creationId xmlns:a16="http://schemas.microsoft.com/office/drawing/2014/main" id="{6123CB09-158D-CA7A-643C-093D7986EA15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rot="10800000" flipV="1">
            <a:off x="4285531" y="5835756"/>
            <a:ext cx="1675505" cy="764940"/>
          </a:xfrm>
          <a:prstGeom prst="rect">
            <a:avLst/>
          </a:prstGeom>
          <a:solidFill>
            <a:srgbClr val="007A87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algn="ctr" defTabSz="685800" fontAlgn="auto">
              <a:spcBef>
                <a:spcPct val="20000"/>
              </a:spcBef>
              <a:spcAft>
                <a:spcPts val="0"/>
              </a:spcAft>
              <a:buSzPct val="90000"/>
              <a:defRPr/>
            </a:pPr>
            <a:r>
              <a:rPr lang="en-US" sz="750" dirty="0">
                <a:solidFill>
                  <a:prstClr val="white"/>
                </a:solidFill>
                <a:latin typeface="Helvetica"/>
                <a:ea typeface="+mn-ea"/>
              </a:rPr>
              <a:t>Technical alignment (SME)</a:t>
            </a:r>
          </a:p>
          <a:p>
            <a:pPr algn="ctr" defTabSz="685800" fontAlgn="auto">
              <a:spcBef>
                <a:spcPct val="20000"/>
              </a:spcBef>
              <a:spcAft>
                <a:spcPts val="0"/>
              </a:spcAft>
              <a:buSzPct val="90000"/>
              <a:defRPr/>
            </a:pPr>
            <a:r>
              <a:rPr lang="en-US" sz="750" dirty="0">
                <a:solidFill>
                  <a:prstClr val="white"/>
                </a:solidFill>
                <a:latin typeface="Helvetica"/>
                <a:ea typeface="+mn-ea"/>
              </a:rPr>
              <a:t>escalation</a:t>
            </a:r>
          </a:p>
          <a:p>
            <a:pPr algn="ctr" defTabSz="685800" fontAlgn="auto">
              <a:spcBef>
                <a:spcPct val="20000"/>
              </a:spcBef>
              <a:spcAft>
                <a:spcPts val="0"/>
              </a:spcAft>
              <a:buSzPct val="90000"/>
              <a:defRPr/>
            </a:pPr>
            <a:r>
              <a:rPr lang="en-US" sz="750" dirty="0">
                <a:solidFill>
                  <a:prstClr val="white"/>
                </a:solidFill>
                <a:latin typeface="Helvetica"/>
                <a:ea typeface="+mn-ea"/>
              </a:rPr>
              <a:t>-cooling table</a:t>
            </a:r>
          </a:p>
          <a:p>
            <a:pPr algn="ctr" defTabSz="685800" fontAlgn="auto">
              <a:spcBef>
                <a:spcPct val="20000"/>
              </a:spcBef>
              <a:spcAft>
                <a:spcPts val="0"/>
              </a:spcAft>
              <a:buSzPct val="90000"/>
              <a:defRPr/>
            </a:pPr>
            <a:r>
              <a:rPr lang="en-US" sz="750" dirty="0">
                <a:solidFill>
                  <a:prstClr val="white"/>
                </a:solidFill>
                <a:latin typeface="Helvetica"/>
                <a:ea typeface="+mn-ea"/>
              </a:rPr>
              <a:t>-alarm devices fume hood </a:t>
            </a:r>
          </a:p>
          <a:p>
            <a:pPr algn="ctr" defTabSz="685800" fontAlgn="auto">
              <a:spcBef>
                <a:spcPct val="20000"/>
              </a:spcBef>
              <a:spcAft>
                <a:spcPts val="0"/>
              </a:spcAft>
              <a:buSzPct val="90000"/>
              <a:defRPr/>
            </a:pPr>
            <a:r>
              <a:rPr lang="en-US" sz="750" dirty="0">
                <a:solidFill>
                  <a:prstClr val="white"/>
                </a:solidFill>
                <a:latin typeface="Helvetica"/>
                <a:ea typeface="+mn-ea"/>
              </a:rPr>
              <a:t> </a:t>
            </a:r>
          </a:p>
          <a:p>
            <a:pPr algn="ctr" defTabSz="685800" fontAlgn="auto">
              <a:spcBef>
                <a:spcPct val="20000"/>
              </a:spcBef>
              <a:spcAft>
                <a:spcPts val="0"/>
              </a:spcAft>
              <a:buSzPct val="90000"/>
              <a:defRPr/>
            </a:pPr>
            <a:endParaRPr lang="en-US" sz="750" dirty="0">
              <a:solidFill>
                <a:prstClr val="white"/>
              </a:solidFill>
              <a:latin typeface="Helvetica"/>
              <a:ea typeface="+mn-ea"/>
            </a:endParaRP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C95B7C50-EF6E-0EA3-A8D6-50783358FD7C}"/>
              </a:ext>
            </a:extLst>
          </p:cNvPr>
          <p:cNvSpPr/>
          <p:nvPr/>
        </p:nvSpPr>
        <p:spPr>
          <a:xfrm rot="8786465">
            <a:off x="5867601" y="5293124"/>
            <a:ext cx="517593" cy="611535"/>
          </a:xfrm>
          <a:custGeom>
            <a:avLst/>
            <a:gdLst>
              <a:gd name="connsiteX0" fmla="*/ 2489703 w 2489703"/>
              <a:gd name="connsiteY0" fmla="*/ 0 h 1910281"/>
              <a:gd name="connsiteX1" fmla="*/ 769544 w 2489703"/>
              <a:gd name="connsiteY1" fmla="*/ 579421 h 1910281"/>
              <a:gd name="connsiteX2" fmla="*/ 0 w 2489703"/>
              <a:gd name="connsiteY2" fmla="*/ 1910281 h 191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89703" h="1910281">
                <a:moveTo>
                  <a:pt x="2489703" y="0"/>
                </a:moveTo>
                <a:cubicBezTo>
                  <a:pt x="1837098" y="130520"/>
                  <a:pt x="1184494" y="261041"/>
                  <a:pt x="769544" y="579421"/>
                </a:cubicBezTo>
                <a:cubicBezTo>
                  <a:pt x="354594" y="897801"/>
                  <a:pt x="177297" y="1404041"/>
                  <a:pt x="0" y="1910281"/>
                </a:cubicBezTo>
              </a:path>
            </a:pathLst>
          </a:custGeom>
          <a:ln w="57150">
            <a:solidFill>
              <a:srgbClr val="007A87"/>
            </a:solidFill>
            <a:headEnd type="triangle" w="med" len="med"/>
            <a:tailEnd type="none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>
              <a:solidFill>
                <a:prstClr val="black"/>
              </a:solidFill>
              <a:latin typeface="Helvetica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E2E7053-972F-8290-2452-90EE845FFBF4}"/>
              </a:ext>
            </a:extLst>
          </p:cNvPr>
          <p:cNvSpPr txBox="1"/>
          <p:nvPr/>
        </p:nvSpPr>
        <p:spPr>
          <a:xfrm>
            <a:off x="6212336" y="5755443"/>
            <a:ext cx="377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? </a:t>
            </a:r>
          </a:p>
        </p:txBody>
      </p:sp>
    </p:spTree>
    <p:extLst>
      <p:ext uri="{BB962C8B-B14F-4D97-AF65-F5344CB8AC3E}">
        <p14:creationId xmlns:p14="http://schemas.microsoft.com/office/powerpoint/2010/main" val="42568524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C7B339-C615-4C36-8FF4-E4239C8D81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481" y="1276843"/>
            <a:ext cx="6722419" cy="332671"/>
          </a:xfr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>
              <a:lnSpc>
                <a:spcPts val="2617"/>
              </a:lnSpc>
            </a:pPr>
            <a:r>
              <a:rPr lang="en-US" dirty="0">
                <a:solidFill>
                  <a:srgbClr val="005F86"/>
                </a:solidFill>
                <a:latin typeface="Arial" panose="020B0604020202020204" pitchFamily="34" charset="0"/>
              </a:rPr>
              <a:t>Monthly CAPEX Execution Meeting Agenda </a:t>
            </a:r>
          </a:p>
        </p:txBody>
      </p:sp>
      <p:sp>
        <p:nvSpPr>
          <p:cNvPr id="39" name="McK 3. Unit of measure">
            <a:extLst>
              <a:ext uri="{FF2B5EF4-FFF2-40B4-BE49-F238E27FC236}">
                <a16:creationId xmlns:a16="http://schemas.microsoft.com/office/drawing/2014/main" id="{06C75DA0-34A7-41B1-BCB9-46E025972E4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900479" y="1764287"/>
            <a:ext cx="1732029" cy="163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69835">
              <a:defRPr/>
            </a:pPr>
            <a:r>
              <a:rPr lang="en-US" sz="1067" dirty="0">
                <a:solidFill>
                  <a:srgbClr val="808080"/>
                </a:solidFill>
                <a:cs typeface="Arial"/>
              </a:rPr>
              <a:t>60 min monthly meeting 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73ADB75-BC90-452D-8AB9-11741D7C7669}"/>
              </a:ext>
            </a:extLst>
          </p:cNvPr>
          <p:cNvGrpSpPr/>
          <p:nvPr/>
        </p:nvGrpSpPr>
        <p:grpSpPr>
          <a:xfrm>
            <a:off x="284013" y="1847873"/>
            <a:ext cx="8493074" cy="3637522"/>
            <a:chOff x="1612708" y="1503169"/>
            <a:chExt cx="7959659" cy="4277807"/>
          </a:xfrm>
        </p:grpSpPr>
        <p:sp>
          <p:nvSpPr>
            <p:cNvPr id="3" name="TextBox 9">
              <a:extLst>
                <a:ext uri="{FF2B5EF4-FFF2-40B4-BE49-F238E27FC236}">
                  <a16:creationId xmlns:a16="http://schemas.microsoft.com/office/drawing/2014/main" id="{74DB9528-F42E-4502-A33A-39964DA15ED4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>
            <a:xfrm>
              <a:off x="1612708" y="1503169"/>
              <a:ext cx="7880651" cy="427780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215968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69788" tIns="34896" rIns="69788" bIns="34896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marR="0" lvl="0" indent="0" algn="ctr" defTabSz="914303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  <a:defRPr kumimoji="0" sz="1427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defRPr>
              </a:lvl1pPr>
              <a:lvl2pPr>
                <a:defRPr>
                  <a:latin typeface="Arial" charset="0"/>
                  <a:cs typeface="Arial" charset="0"/>
                </a:defRPr>
              </a:lvl2pPr>
              <a:lvl3pPr>
                <a:defRPr>
                  <a:latin typeface="Arial" charset="0"/>
                  <a:cs typeface="Arial" charset="0"/>
                </a:defRPr>
              </a:lvl3pPr>
              <a:lvl4pPr>
                <a:defRPr>
                  <a:latin typeface="Arial" charset="0"/>
                  <a:cs typeface="Arial" charset="0"/>
                </a:defRPr>
              </a:lvl4pPr>
              <a:lvl5pPr>
                <a:defRPr>
                  <a:latin typeface="Arial" charset="0"/>
                  <a:cs typeface="Arial" charset="0"/>
                </a:defRPr>
              </a:lvl5pPr>
              <a:lvl6pPr>
                <a:defRPr>
                  <a:latin typeface="Arial" charset="0"/>
                  <a:cs typeface="Arial" charset="0"/>
                </a:defRPr>
              </a:lvl6pPr>
              <a:lvl7pPr>
                <a:defRPr>
                  <a:latin typeface="Arial" charset="0"/>
                  <a:cs typeface="Arial" charset="0"/>
                </a:defRPr>
              </a:lvl7pPr>
              <a:lvl8pPr>
                <a:defRPr>
                  <a:latin typeface="Arial" charset="0"/>
                  <a:cs typeface="Arial" charset="0"/>
                </a:defRPr>
              </a:lvl8pPr>
              <a:lvl9pPr>
                <a:defRPr>
                  <a:latin typeface="Arial" charset="0"/>
                  <a:cs typeface="Arial" charset="0"/>
                </a:defRPr>
              </a:lvl9pPr>
            </a:lstStyle>
            <a:p>
              <a:pPr defTabSz="684014"/>
              <a:endParaRPr lang="cs-CZ" sz="1067"/>
            </a:p>
          </p:txBody>
        </p:sp>
        <p:sp>
          <p:nvSpPr>
            <p:cNvPr id="4" name="Rectangle 4">
              <a:extLst>
                <a:ext uri="{FF2B5EF4-FFF2-40B4-BE49-F238E27FC236}">
                  <a16:creationId xmlns:a16="http://schemas.microsoft.com/office/drawing/2014/main" id="{5DE9C452-F83E-4510-A928-6605F311D4B9}"/>
                </a:ext>
              </a:extLst>
            </p:cNvPr>
            <p:cNvSpPr txBox="1">
              <a:spLocks/>
            </p:cNvSpPr>
            <p:nvPr/>
          </p:nvSpPr>
          <p:spPr>
            <a:xfrm>
              <a:off x="2268104" y="1581804"/>
              <a:ext cx="2000411" cy="193117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buFontTx/>
                <a:buNone/>
                <a:defRPr lang="en-US" baseline="0" dirty="0" smtClean="0">
                  <a:latin typeface="+mn-lt"/>
                  <a:cs typeface="+mn-cs"/>
                </a:defRPr>
              </a:lvl1pPr>
              <a:lvl2pPr marL="209550" lvl="1" indent="-209550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lang="en-US" baseline="0" dirty="0" smtClean="0">
                  <a:latin typeface="+mn-lt"/>
                  <a:cs typeface="+mn-cs"/>
                </a:defRPr>
              </a:lvl2pPr>
              <a:lvl3pPr marL="479425" lvl="2" indent="-26670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lang="en-US" baseline="0" dirty="0" smtClean="0">
                  <a:latin typeface="+mn-lt"/>
                  <a:cs typeface="+mn-cs"/>
                </a:defRPr>
              </a:lvl3pPr>
              <a:lvl4pPr marL="657225" lvl="3" indent="-18415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dirty="0" smtClean="0">
                  <a:latin typeface="+mn-lt"/>
                  <a:cs typeface="+mn-cs"/>
                </a:defRPr>
              </a:lvl4pPr>
              <a:lvl5pPr marL="847725" lvl="4" indent="-177800" defTabSz="895350" eaLnBrk="1" hangingPunct="1">
                <a:buClr>
                  <a:schemeClr val="tx2"/>
                </a:buClr>
                <a:buSzPct val="89000"/>
                <a:buFont typeface="Arial" pitchFamily="34" charset="0"/>
                <a:buChar char="-"/>
                <a:defRPr lang="en-US" baseline="0" dirty="0" smtClean="0">
                  <a:latin typeface="+mn-lt"/>
                  <a:cs typeface="+mn-cs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69835">
                <a:buClr>
                  <a:srgbClr val="000000"/>
                </a:buClr>
                <a:defRPr/>
              </a:pPr>
              <a:r>
                <a:rPr lang="en-US" sz="1067" b="1">
                  <a:solidFill>
                    <a:srgbClr val="000000"/>
                  </a:solidFill>
                  <a:latin typeface="Arial"/>
                  <a:cs typeface="Arial"/>
                </a:rPr>
                <a:t>Topics</a:t>
              </a:r>
              <a:endParaRPr lang="en-AU" sz="1067" b="1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EBB51473-16C5-4C2A-86F7-0491A97EE36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268104" y="1797336"/>
              <a:ext cx="2000411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" name="Rectangle 4">
              <a:extLst>
                <a:ext uri="{FF2B5EF4-FFF2-40B4-BE49-F238E27FC236}">
                  <a16:creationId xmlns:a16="http://schemas.microsoft.com/office/drawing/2014/main" id="{88A1007B-BECA-46C3-A7AE-A8D52AE0E1E6}"/>
                </a:ext>
              </a:extLst>
            </p:cNvPr>
            <p:cNvSpPr txBox="1">
              <a:spLocks/>
            </p:cNvSpPr>
            <p:nvPr/>
          </p:nvSpPr>
          <p:spPr>
            <a:xfrm>
              <a:off x="8412067" y="1581804"/>
              <a:ext cx="1040109" cy="193117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buFontTx/>
                <a:buNone/>
                <a:defRPr lang="en-US" baseline="0" dirty="0" smtClean="0">
                  <a:latin typeface="+mn-lt"/>
                  <a:cs typeface="+mn-cs"/>
                </a:defRPr>
              </a:lvl1pPr>
              <a:lvl2pPr marL="209550" lvl="1" indent="-209550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lang="en-US" baseline="0" dirty="0" smtClean="0">
                  <a:latin typeface="+mn-lt"/>
                  <a:cs typeface="+mn-cs"/>
                </a:defRPr>
              </a:lvl2pPr>
              <a:lvl3pPr marL="479425" lvl="2" indent="-26670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lang="en-US" baseline="0" dirty="0" smtClean="0">
                  <a:latin typeface="+mn-lt"/>
                  <a:cs typeface="+mn-cs"/>
                </a:defRPr>
              </a:lvl3pPr>
              <a:lvl4pPr marL="657225" lvl="3" indent="-18415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dirty="0" smtClean="0">
                  <a:latin typeface="+mn-lt"/>
                  <a:cs typeface="+mn-cs"/>
                </a:defRPr>
              </a:lvl4pPr>
              <a:lvl5pPr marL="847725" lvl="4" indent="-177800" defTabSz="895350" eaLnBrk="1" hangingPunct="1">
                <a:buClr>
                  <a:schemeClr val="tx2"/>
                </a:buClr>
                <a:buSzPct val="89000"/>
                <a:buFont typeface="Arial" pitchFamily="34" charset="0"/>
                <a:buChar char="-"/>
                <a:defRPr lang="en-US" baseline="0" dirty="0" smtClean="0">
                  <a:latin typeface="+mn-lt"/>
                  <a:cs typeface="+mn-cs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69835">
                <a:buClr>
                  <a:srgbClr val="000000"/>
                </a:buClr>
                <a:defRPr/>
              </a:pPr>
              <a:r>
                <a:rPr lang="en-US" sz="1067" b="1">
                  <a:solidFill>
                    <a:srgbClr val="000000"/>
                  </a:solidFill>
                  <a:latin typeface="Arial"/>
                  <a:cs typeface="Arial"/>
                </a:rPr>
                <a:t>Timing</a:t>
              </a:r>
              <a:endParaRPr lang="en-AU" sz="1067" b="1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4CBC87D3-F534-42C4-B332-31003CC3755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412067" y="1797336"/>
              <a:ext cx="1040109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" name="Rectangle 4">
              <a:extLst>
                <a:ext uri="{FF2B5EF4-FFF2-40B4-BE49-F238E27FC236}">
                  <a16:creationId xmlns:a16="http://schemas.microsoft.com/office/drawing/2014/main" id="{2E0E1859-287D-498B-A817-7CBE8646837E}"/>
                </a:ext>
              </a:extLst>
            </p:cNvPr>
            <p:cNvSpPr txBox="1">
              <a:spLocks/>
            </p:cNvSpPr>
            <p:nvPr/>
          </p:nvSpPr>
          <p:spPr>
            <a:xfrm>
              <a:off x="4366538" y="1581804"/>
              <a:ext cx="3947502" cy="193117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buFontTx/>
                <a:buNone/>
                <a:defRPr lang="en-US" baseline="0" dirty="0" smtClean="0">
                  <a:latin typeface="+mn-lt"/>
                  <a:cs typeface="+mn-cs"/>
                </a:defRPr>
              </a:lvl1pPr>
              <a:lvl2pPr marL="209550" lvl="1" indent="-209550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lang="en-US" baseline="0" dirty="0" smtClean="0">
                  <a:latin typeface="+mn-lt"/>
                  <a:cs typeface="+mn-cs"/>
                </a:defRPr>
              </a:lvl2pPr>
              <a:lvl3pPr marL="479425" lvl="2" indent="-26670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lang="en-US" baseline="0" dirty="0" smtClean="0">
                  <a:latin typeface="+mn-lt"/>
                  <a:cs typeface="+mn-cs"/>
                </a:defRPr>
              </a:lvl3pPr>
              <a:lvl4pPr marL="657225" lvl="3" indent="-18415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dirty="0" smtClean="0">
                  <a:latin typeface="+mn-lt"/>
                  <a:cs typeface="+mn-cs"/>
                </a:defRPr>
              </a:lvl4pPr>
              <a:lvl5pPr marL="847725" lvl="4" indent="-177800" defTabSz="895350" eaLnBrk="1" hangingPunct="1">
                <a:buClr>
                  <a:schemeClr val="tx2"/>
                </a:buClr>
                <a:buSzPct val="89000"/>
                <a:buFont typeface="Arial" pitchFamily="34" charset="0"/>
                <a:buChar char="-"/>
                <a:defRPr lang="en-US" baseline="0" dirty="0" smtClean="0">
                  <a:latin typeface="+mn-lt"/>
                  <a:cs typeface="+mn-cs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69835">
                <a:buClr>
                  <a:srgbClr val="000000"/>
                </a:buClr>
                <a:defRPr/>
              </a:pPr>
              <a:r>
                <a:rPr lang="en-US" sz="1067" b="1">
                  <a:solidFill>
                    <a:srgbClr val="000000"/>
                  </a:solidFill>
                  <a:latin typeface="Arial"/>
                  <a:cs typeface="Arial"/>
                </a:rPr>
                <a:t>Details</a:t>
              </a:r>
              <a:endParaRPr lang="en-AU" sz="1067" b="1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12B93104-A592-4372-837A-A256F09783F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366536" y="1797336"/>
              <a:ext cx="3947502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" name="Rectangle 4">
              <a:extLst>
                <a:ext uri="{FF2B5EF4-FFF2-40B4-BE49-F238E27FC236}">
                  <a16:creationId xmlns:a16="http://schemas.microsoft.com/office/drawing/2014/main" id="{DFC6E9F9-0792-48CC-A112-AD18B007E9B4}"/>
                </a:ext>
              </a:extLst>
            </p:cNvPr>
            <p:cNvSpPr txBox="1">
              <a:spLocks/>
            </p:cNvSpPr>
            <p:nvPr/>
          </p:nvSpPr>
          <p:spPr>
            <a:xfrm>
              <a:off x="2290527" y="1880511"/>
              <a:ext cx="2161559" cy="13558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buFontTx/>
                <a:buNone/>
                <a:defRPr lang="en-US" baseline="0" dirty="0" smtClean="0">
                  <a:latin typeface="+mn-lt"/>
                  <a:cs typeface="+mn-cs"/>
                </a:defRPr>
              </a:lvl1pPr>
              <a:lvl2pPr marL="209550" lvl="1" indent="-209550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lang="en-US" baseline="0" dirty="0" smtClean="0">
                  <a:latin typeface="+mn-lt"/>
                  <a:cs typeface="+mn-cs"/>
                </a:defRPr>
              </a:lvl2pPr>
              <a:lvl3pPr marL="479425" lvl="2" indent="-26670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lang="en-US" baseline="0" dirty="0" smtClean="0">
                  <a:latin typeface="+mn-lt"/>
                  <a:cs typeface="+mn-cs"/>
                </a:defRPr>
              </a:lvl3pPr>
              <a:lvl4pPr marL="657225" lvl="3" indent="-18415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dirty="0" smtClean="0">
                  <a:latin typeface="+mn-lt"/>
                  <a:cs typeface="+mn-cs"/>
                </a:defRPr>
              </a:lvl4pPr>
              <a:lvl5pPr marL="847725" lvl="4" indent="-177800" defTabSz="895350" eaLnBrk="1" hangingPunct="1">
                <a:buClr>
                  <a:schemeClr val="tx2"/>
                </a:buClr>
                <a:buSzPct val="89000"/>
                <a:buFont typeface="Arial" pitchFamily="34" charset="0"/>
                <a:buChar char="-"/>
                <a:defRPr lang="en-US" baseline="0" dirty="0" smtClean="0">
                  <a:latin typeface="+mn-lt"/>
                  <a:cs typeface="+mn-cs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69835">
                <a:buClr>
                  <a:srgbClr val="000000"/>
                </a:buClr>
                <a:defRPr/>
              </a:pPr>
              <a:r>
                <a:rPr lang="en-US" sz="749" b="1" dirty="0">
                  <a:solidFill>
                    <a:srgbClr val="000000"/>
                  </a:solidFill>
                  <a:latin typeface="Arial"/>
                  <a:cs typeface="Arial"/>
                </a:rPr>
                <a:t>Safety </a:t>
              </a:r>
              <a:endParaRPr lang="en-AU" sz="749" b="1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1" name="Rectangle 4">
              <a:extLst>
                <a:ext uri="{FF2B5EF4-FFF2-40B4-BE49-F238E27FC236}">
                  <a16:creationId xmlns:a16="http://schemas.microsoft.com/office/drawing/2014/main" id="{A935D574-B865-408C-AB88-7B825A77D1F2}"/>
                </a:ext>
              </a:extLst>
            </p:cNvPr>
            <p:cNvSpPr txBox="1">
              <a:spLocks/>
            </p:cNvSpPr>
            <p:nvPr/>
          </p:nvSpPr>
          <p:spPr>
            <a:xfrm>
              <a:off x="8393066" y="1920923"/>
              <a:ext cx="1040109" cy="1931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buFontTx/>
                <a:buNone/>
                <a:defRPr lang="en-US" baseline="0" dirty="0" smtClean="0">
                  <a:latin typeface="+mn-lt"/>
                  <a:cs typeface="+mn-cs"/>
                </a:defRPr>
              </a:lvl1pPr>
              <a:lvl2pPr marL="209550" lvl="1" indent="-209550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lang="en-US" baseline="0" dirty="0" smtClean="0">
                  <a:latin typeface="+mn-lt"/>
                  <a:cs typeface="+mn-cs"/>
                </a:defRPr>
              </a:lvl2pPr>
              <a:lvl3pPr marL="479425" lvl="2" indent="-26670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lang="en-US" baseline="0" dirty="0" smtClean="0">
                  <a:latin typeface="+mn-lt"/>
                  <a:cs typeface="+mn-cs"/>
                </a:defRPr>
              </a:lvl3pPr>
              <a:lvl4pPr marL="657225" lvl="3" indent="-18415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dirty="0" smtClean="0">
                  <a:latin typeface="+mn-lt"/>
                  <a:cs typeface="+mn-cs"/>
                </a:defRPr>
              </a:lvl4pPr>
              <a:lvl5pPr marL="847725" lvl="4" indent="-177800" defTabSz="895350" eaLnBrk="1" hangingPunct="1">
                <a:buClr>
                  <a:schemeClr val="tx2"/>
                </a:buClr>
                <a:buSzPct val="89000"/>
                <a:buFont typeface="Arial" pitchFamily="34" charset="0"/>
                <a:buChar char="-"/>
                <a:defRPr lang="en-US" baseline="0" dirty="0" smtClean="0">
                  <a:latin typeface="+mn-lt"/>
                  <a:cs typeface="+mn-cs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69835">
                <a:buClr>
                  <a:srgbClr val="000000"/>
                </a:buClr>
                <a:defRPr/>
              </a:pPr>
              <a:r>
                <a:rPr lang="en-US" sz="1067">
                  <a:solidFill>
                    <a:srgbClr val="000000"/>
                  </a:solidFill>
                  <a:latin typeface="Arial"/>
                  <a:cs typeface="Arial"/>
                </a:rPr>
                <a:t>3-5 minutes</a:t>
              </a:r>
              <a:endParaRPr lang="en-AU" sz="1067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4" name="Rectangle 4">
              <a:extLst>
                <a:ext uri="{FF2B5EF4-FFF2-40B4-BE49-F238E27FC236}">
                  <a16:creationId xmlns:a16="http://schemas.microsoft.com/office/drawing/2014/main" id="{F646EC11-B059-4917-A88D-58FF002D134F}"/>
                </a:ext>
              </a:extLst>
            </p:cNvPr>
            <p:cNvSpPr txBox="1">
              <a:spLocks/>
            </p:cNvSpPr>
            <p:nvPr/>
          </p:nvSpPr>
          <p:spPr>
            <a:xfrm>
              <a:off x="2274373" y="3843818"/>
              <a:ext cx="2000411" cy="27116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buFontTx/>
                <a:buNone/>
                <a:defRPr lang="en-US" baseline="0" dirty="0" smtClean="0">
                  <a:latin typeface="+mn-lt"/>
                  <a:cs typeface="+mn-cs"/>
                </a:defRPr>
              </a:lvl1pPr>
              <a:lvl2pPr marL="209550" lvl="1" indent="-209550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lang="en-US" baseline="0" dirty="0" smtClean="0">
                  <a:latin typeface="+mn-lt"/>
                  <a:cs typeface="+mn-cs"/>
                </a:defRPr>
              </a:lvl2pPr>
              <a:lvl3pPr marL="479425" lvl="2" indent="-26670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lang="en-US" baseline="0" dirty="0" smtClean="0">
                  <a:latin typeface="+mn-lt"/>
                  <a:cs typeface="+mn-cs"/>
                </a:defRPr>
              </a:lvl3pPr>
              <a:lvl4pPr marL="657225" lvl="3" indent="-18415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dirty="0" smtClean="0">
                  <a:latin typeface="+mn-lt"/>
                  <a:cs typeface="+mn-cs"/>
                </a:defRPr>
              </a:lvl4pPr>
              <a:lvl5pPr marL="847725" lvl="4" indent="-177800" defTabSz="895350" eaLnBrk="1" hangingPunct="1">
                <a:buClr>
                  <a:schemeClr val="tx2"/>
                </a:buClr>
                <a:buSzPct val="89000"/>
                <a:buFont typeface="Arial" pitchFamily="34" charset="0"/>
                <a:buChar char="-"/>
                <a:defRPr lang="en-US" baseline="0" dirty="0" smtClean="0">
                  <a:latin typeface="+mn-lt"/>
                  <a:cs typeface="+mn-cs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69835">
                <a:buClr>
                  <a:srgbClr val="000000"/>
                </a:buClr>
                <a:defRPr/>
              </a:pPr>
              <a:br>
                <a:rPr lang="en-US" sz="749" b="1" dirty="0">
                  <a:solidFill>
                    <a:srgbClr val="000000"/>
                  </a:solidFill>
                  <a:latin typeface="Arial"/>
                  <a:cs typeface="Arial"/>
                </a:rPr>
              </a:br>
              <a:r>
                <a:rPr lang="en-US" sz="749" b="1" dirty="0">
                  <a:solidFill>
                    <a:srgbClr val="000000"/>
                  </a:solidFill>
                  <a:latin typeface="Arial"/>
                  <a:cs typeface="Arial"/>
                </a:rPr>
                <a:t>Rapid, project</a:t>
              </a:r>
              <a:r>
                <a:rPr lang="en-US" sz="749" b="1" i="1" dirty="0">
                  <a:solidFill>
                    <a:srgbClr val="000000"/>
                  </a:solidFill>
                  <a:latin typeface="Arial"/>
                  <a:cs typeface="Arial"/>
                </a:rPr>
                <a:t>-specific discussion</a:t>
              </a:r>
              <a:endParaRPr lang="en-AU" sz="749" b="1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E1A9ABFC-3168-4434-A286-221D320D539A}"/>
                </a:ext>
              </a:extLst>
            </p:cNvPr>
            <p:cNvSpPr txBox="1">
              <a:spLocks/>
            </p:cNvSpPr>
            <p:nvPr/>
          </p:nvSpPr>
          <p:spPr>
            <a:xfrm>
              <a:off x="8384635" y="4114034"/>
              <a:ext cx="1040109" cy="1931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buFontTx/>
                <a:buNone/>
                <a:defRPr lang="en-US" baseline="0" dirty="0" smtClean="0">
                  <a:latin typeface="+mn-lt"/>
                  <a:cs typeface="+mn-cs"/>
                </a:defRPr>
              </a:lvl1pPr>
              <a:lvl2pPr marL="209550" lvl="1" indent="-209550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lang="en-US" baseline="0" dirty="0" smtClean="0">
                  <a:latin typeface="+mn-lt"/>
                  <a:cs typeface="+mn-cs"/>
                </a:defRPr>
              </a:lvl2pPr>
              <a:lvl3pPr marL="479425" lvl="2" indent="-26670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lang="en-US" baseline="0" dirty="0" smtClean="0">
                  <a:latin typeface="+mn-lt"/>
                  <a:cs typeface="+mn-cs"/>
                </a:defRPr>
              </a:lvl3pPr>
              <a:lvl4pPr marL="657225" lvl="3" indent="-18415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dirty="0" smtClean="0">
                  <a:latin typeface="+mn-lt"/>
                  <a:cs typeface="+mn-cs"/>
                </a:defRPr>
              </a:lvl4pPr>
              <a:lvl5pPr marL="847725" lvl="4" indent="-177800" defTabSz="895350" eaLnBrk="1" hangingPunct="1">
                <a:buClr>
                  <a:schemeClr val="tx2"/>
                </a:buClr>
                <a:buSzPct val="89000"/>
                <a:buFont typeface="Arial" pitchFamily="34" charset="0"/>
                <a:buChar char="-"/>
                <a:defRPr lang="en-US" baseline="0" dirty="0" smtClean="0">
                  <a:latin typeface="+mn-lt"/>
                  <a:cs typeface="+mn-cs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69835">
                <a:buClr>
                  <a:srgbClr val="000000"/>
                </a:buClr>
                <a:defRPr/>
              </a:pPr>
              <a:r>
                <a:rPr lang="en-US" sz="1067" dirty="0">
                  <a:solidFill>
                    <a:srgbClr val="000000"/>
                  </a:solidFill>
                  <a:latin typeface="Arial"/>
                  <a:cs typeface="Arial"/>
                </a:rPr>
                <a:t>30 minutes</a:t>
              </a:r>
              <a:endParaRPr lang="en-AU" sz="1067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6" name="Rectangle 4">
              <a:extLst>
                <a:ext uri="{FF2B5EF4-FFF2-40B4-BE49-F238E27FC236}">
                  <a16:creationId xmlns:a16="http://schemas.microsoft.com/office/drawing/2014/main" id="{C4184A75-C8B8-4159-BEE3-EF7DCAC270B5}"/>
                </a:ext>
              </a:extLst>
            </p:cNvPr>
            <p:cNvSpPr txBox="1">
              <a:spLocks/>
            </p:cNvSpPr>
            <p:nvPr/>
          </p:nvSpPr>
          <p:spPr>
            <a:xfrm>
              <a:off x="4340674" y="3865214"/>
              <a:ext cx="4621614" cy="54232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buFontTx/>
                <a:buNone/>
                <a:defRPr lang="en-US" baseline="0" dirty="0" smtClean="0">
                  <a:latin typeface="+mn-lt"/>
                  <a:cs typeface="+mn-cs"/>
                </a:defRPr>
              </a:lvl1pPr>
              <a:lvl2pPr marL="209550" lvl="1" indent="-209550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lang="en-US" baseline="0" dirty="0" smtClean="0">
                  <a:latin typeface="+mn-lt"/>
                  <a:cs typeface="+mn-cs"/>
                </a:defRPr>
              </a:lvl2pPr>
              <a:lvl3pPr marL="479425" lvl="2" indent="-26670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lang="en-US" baseline="0" dirty="0" smtClean="0">
                  <a:latin typeface="+mn-lt"/>
                  <a:cs typeface="+mn-cs"/>
                </a:defRPr>
              </a:lvl3pPr>
              <a:lvl4pPr marL="657225" lvl="3" indent="-18415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dirty="0" smtClean="0">
                  <a:latin typeface="+mn-lt"/>
                  <a:cs typeface="+mn-cs"/>
                </a:defRPr>
              </a:lvl4pPr>
              <a:lvl5pPr marL="847725" lvl="4" indent="-177800" defTabSz="895350" eaLnBrk="1" hangingPunct="1">
                <a:buClr>
                  <a:schemeClr val="tx2"/>
                </a:buClr>
                <a:buSzPct val="89000"/>
                <a:buFont typeface="Arial" pitchFamily="34" charset="0"/>
                <a:buChar char="-"/>
                <a:defRPr lang="en-US" baseline="0" dirty="0" smtClean="0">
                  <a:latin typeface="+mn-lt"/>
                  <a:cs typeface="+mn-cs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6770" lvl="1" indent="-156770" defTabSz="669835">
                <a:buClr>
                  <a:srgbClr val="000000"/>
                </a:buClr>
                <a:defRPr/>
              </a:pPr>
              <a:r>
                <a:rPr lang="en-US" sz="749" dirty="0">
                  <a:solidFill>
                    <a:srgbClr val="000000"/>
                  </a:solidFill>
                  <a:latin typeface="Arial"/>
                  <a:cs typeface="Arial"/>
                </a:rPr>
                <a:t>Ensure projects moving from</a:t>
              </a:r>
            </a:p>
            <a:p>
              <a:pPr marL="156770" lvl="1" indent="-156770" defTabSz="669835">
                <a:buClr>
                  <a:srgbClr val="000000"/>
                </a:buClr>
                <a:defRPr/>
              </a:pPr>
              <a:r>
                <a:rPr lang="en-US" sz="749" dirty="0">
                  <a:solidFill>
                    <a:srgbClr val="000000"/>
                  </a:solidFill>
                  <a:latin typeface="Arial"/>
                  <a:cs typeface="Arial"/>
                </a:rPr>
                <a:t>Identify areas for leadership support</a:t>
              </a:r>
            </a:p>
            <a:p>
              <a:pPr marL="156770" lvl="1" indent="-156770" defTabSz="669835">
                <a:buClr>
                  <a:srgbClr val="000000"/>
                </a:buClr>
                <a:defRPr/>
              </a:pPr>
              <a:r>
                <a:rPr lang="en-US" sz="749" dirty="0">
                  <a:solidFill>
                    <a:srgbClr val="000000"/>
                  </a:solidFill>
                  <a:latin typeface="Arial"/>
                  <a:cs typeface="Arial"/>
                </a:rPr>
                <a:t>Identify acceleration opportunities</a:t>
              </a:r>
            </a:p>
            <a:p>
              <a:pPr marL="156770" lvl="1" indent="-156770" defTabSz="669835">
                <a:buClr>
                  <a:srgbClr val="000000"/>
                </a:buClr>
                <a:defRPr/>
              </a:pPr>
              <a:r>
                <a:rPr lang="en-US" sz="749" dirty="0">
                  <a:solidFill>
                    <a:srgbClr val="000000"/>
                  </a:solidFill>
                  <a:latin typeface="Arial"/>
                  <a:cs typeface="Arial"/>
                </a:rPr>
                <a:t>Resources allocation </a:t>
              </a:r>
              <a:endParaRPr lang="en-AU" sz="749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6184836-343A-4498-AF62-CA36D0C0B9F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290526" y="2326668"/>
              <a:ext cx="7161646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AB17F3F-CAF7-4BFD-A785-DF61767FA30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271524" y="2648294"/>
              <a:ext cx="7161646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C934788-7343-4309-B3E4-4F6874D1077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200317" y="4652573"/>
              <a:ext cx="7161646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7E0B950-4DF8-426F-836F-35220B79255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200317" y="5282620"/>
              <a:ext cx="7161646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4">
              <a:extLst>
                <a:ext uri="{FF2B5EF4-FFF2-40B4-BE49-F238E27FC236}">
                  <a16:creationId xmlns:a16="http://schemas.microsoft.com/office/drawing/2014/main" id="{85C56B8D-E7B6-4B0D-8515-63FDAEDF228B}"/>
                </a:ext>
              </a:extLst>
            </p:cNvPr>
            <p:cNvSpPr txBox="1">
              <a:spLocks/>
            </p:cNvSpPr>
            <p:nvPr/>
          </p:nvSpPr>
          <p:spPr>
            <a:xfrm>
              <a:off x="2242241" y="4737542"/>
              <a:ext cx="2098435" cy="13558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buFontTx/>
                <a:buNone/>
                <a:defRPr lang="en-US" baseline="0" dirty="0" smtClean="0">
                  <a:latin typeface="+mn-lt"/>
                  <a:cs typeface="+mn-cs"/>
                </a:defRPr>
              </a:lvl1pPr>
              <a:lvl2pPr marL="209550" lvl="1" indent="-209550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lang="en-US" baseline="0" dirty="0" smtClean="0">
                  <a:latin typeface="+mn-lt"/>
                  <a:cs typeface="+mn-cs"/>
                </a:defRPr>
              </a:lvl2pPr>
              <a:lvl3pPr marL="479425" lvl="2" indent="-26670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lang="en-US" baseline="0" dirty="0" smtClean="0">
                  <a:latin typeface="+mn-lt"/>
                  <a:cs typeface="+mn-cs"/>
                </a:defRPr>
              </a:lvl3pPr>
              <a:lvl4pPr marL="657225" lvl="3" indent="-18415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dirty="0" smtClean="0">
                  <a:latin typeface="+mn-lt"/>
                  <a:cs typeface="+mn-cs"/>
                </a:defRPr>
              </a:lvl4pPr>
              <a:lvl5pPr marL="847725" lvl="4" indent="-177800" defTabSz="895350" eaLnBrk="1" hangingPunct="1">
                <a:buClr>
                  <a:schemeClr val="tx2"/>
                </a:buClr>
                <a:buSzPct val="89000"/>
                <a:buFont typeface="Arial" pitchFamily="34" charset="0"/>
                <a:buChar char="-"/>
                <a:defRPr lang="en-US" baseline="0" dirty="0" smtClean="0">
                  <a:latin typeface="+mn-lt"/>
                  <a:cs typeface="+mn-cs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69835">
                <a:buClr>
                  <a:srgbClr val="000000"/>
                </a:buClr>
                <a:defRPr/>
              </a:pPr>
              <a:r>
                <a:rPr lang="en-US" sz="749" b="1" dirty="0">
                  <a:solidFill>
                    <a:srgbClr val="000000"/>
                  </a:solidFill>
                  <a:latin typeface="Arial"/>
                  <a:cs typeface="Arial"/>
                </a:rPr>
                <a:t>Pipeline review </a:t>
              </a:r>
              <a:endParaRPr lang="en-AU" sz="749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2" name="Rectangle 4">
              <a:extLst>
                <a:ext uri="{FF2B5EF4-FFF2-40B4-BE49-F238E27FC236}">
                  <a16:creationId xmlns:a16="http://schemas.microsoft.com/office/drawing/2014/main" id="{D6826426-12AC-4A8A-875C-CC9A24EBAD89}"/>
                </a:ext>
              </a:extLst>
            </p:cNvPr>
            <p:cNvSpPr txBox="1">
              <a:spLocks/>
            </p:cNvSpPr>
            <p:nvPr/>
          </p:nvSpPr>
          <p:spPr>
            <a:xfrm>
              <a:off x="4338625" y="4775689"/>
              <a:ext cx="3947502" cy="54232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buFontTx/>
                <a:buNone/>
                <a:defRPr lang="en-US" baseline="0" dirty="0" smtClean="0">
                  <a:latin typeface="+mn-lt"/>
                  <a:cs typeface="+mn-cs"/>
                </a:defRPr>
              </a:lvl1pPr>
              <a:lvl2pPr marL="209550" lvl="1" indent="-209550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lang="en-US" baseline="0" dirty="0" smtClean="0">
                  <a:latin typeface="+mn-lt"/>
                  <a:cs typeface="+mn-cs"/>
                </a:defRPr>
              </a:lvl2pPr>
              <a:lvl3pPr marL="479425" lvl="2" indent="-26670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lang="en-US" baseline="0" dirty="0" smtClean="0">
                  <a:latin typeface="+mn-lt"/>
                  <a:cs typeface="+mn-cs"/>
                </a:defRPr>
              </a:lvl3pPr>
              <a:lvl4pPr marL="657225" lvl="3" indent="-18415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dirty="0" smtClean="0">
                  <a:latin typeface="+mn-lt"/>
                  <a:cs typeface="+mn-cs"/>
                </a:defRPr>
              </a:lvl4pPr>
              <a:lvl5pPr marL="847725" lvl="4" indent="-177800" defTabSz="895350" eaLnBrk="1" hangingPunct="1">
                <a:buClr>
                  <a:schemeClr val="tx2"/>
                </a:buClr>
                <a:buSzPct val="89000"/>
                <a:buFont typeface="Arial" pitchFamily="34" charset="0"/>
                <a:buChar char="-"/>
                <a:defRPr lang="en-US" baseline="0" dirty="0" smtClean="0">
                  <a:latin typeface="+mn-lt"/>
                  <a:cs typeface="+mn-cs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6770" lvl="1" indent="-156770" defTabSz="669835">
                <a:buClr>
                  <a:srgbClr val="000000"/>
                </a:buClr>
                <a:defRPr/>
              </a:pPr>
              <a:r>
                <a:rPr lang="en-US" sz="749" dirty="0">
                  <a:solidFill>
                    <a:srgbClr val="000000"/>
                  </a:solidFill>
                  <a:latin typeface="Arial"/>
                  <a:cs typeface="Arial"/>
                </a:rPr>
                <a:t>Pipeline Overview</a:t>
              </a:r>
            </a:p>
            <a:p>
              <a:pPr marL="156770" lvl="1" indent="-156770" defTabSz="669835">
                <a:buClr>
                  <a:srgbClr val="000000"/>
                </a:buClr>
                <a:defRPr/>
              </a:pPr>
              <a:r>
                <a:rPr lang="en-US" sz="749" dirty="0">
                  <a:solidFill>
                    <a:srgbClr val="000000"/>
                  </a:solidFill>
                  <a:latin typeface="Arial"/>
                  <a:cs typeface="Arial"/>
                </a:rPr>
                <a:t>Present new projects  </a:t>
              </a:r>
            </a:p>
            <a:p>
              <a:pPr marL="156770" lvl="1" indent="-156770" defTabSz="669835">
                <a:buClr>
                  <a:srgbClr val="000000"/>
                </a:buClr>
                <a:defRPr/>
              </a:pPr>
              <a:r>
                <a:rPr lang="en-US" sz="749" dirty="0">
                  <a:solidFill>
                    <a:srgbClr val="000000"/>
                  </a:solidFill>
                  <a:latin typeface="Arial"/>
                  <a:cs typeface="Arial"/>
                </a:rPr>
                <a:t>Project deep dive if needed </a:t>
              </a:r>
              <a:br>
                <a:rPr lang="en-US" sz="749" b="1" dirty="0">
                  <a:solidFill>
                    <a:srgbClr val="000000"/>
                  </a:solidFill>
                  <a:latin typeface="Arial"/>
                  <a:cs typeface="Arial"/>
                </a:rPr>
              </a:br>
              <a:endParaRPr lang="en-US" sz="749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3" name="Rectangle 4">
              <a:extLst>
                <a:ext uri="{FF2B5EF4-FFF2-40B4-BE49-F238E27FC236}">
                  <a16:creationId xmlns:a16="http://schemas.microsoft.com/office/drawing/2014/main" id="{F84E056E-F48B-4706-9BBA-43E265016338}"/>
                </a:ext>
              </a:extLst>
            </p:cNvPr>
            <p:cNvSpPr txBox="1">
              <a:spLocks/>
            </p:cNvSpPr>
            <p:nvPr/>
          </p:nvSpPr>
          <p:spPr>
            <a:xfrm>
              <a:off x="8388241" y="4731186"/>
              <a:ext cx="1105118" cy="38623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buFontTx/>
                <a:buNone/>
                <a:defRPr lang="en-US" baseline="0" dirty="0" smtClean="0">
                  <a:latin typeface="+mn-lt"/>
                  <a:cs typeface="+mn-cs"/>
                </a:defRPr>
              </a:lvl1pPr>
              <a:lvl2pPr marL="209550" lvl="1" indent="-209550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lang="en-US" baseline="0" dirty="0" smtClean="0">
                  <a:latin typeface="+mn-lt"/>
                  <a:cs typeface="+mn-cs"/>
                </a:defRPr>
              </a:lvl2pPr>
              <a:lvl3pPr marL="479425" lvl="2" indent="-26670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lang="en-US" baseline="0" dirty="0" smtClean="0">
                  <a:latin typeface="+mn-lt"/>
                  <a:cs typeface="+mn-cs"/>
                </a:defRPr>
              </a:lvl3pPr>
              <a:lvl4pPr marL="657225" lvl="3" indent="-18415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dirty="0" smtClean="0">
                  <a:latin typeface="+mn-lt"/>
                  <a:cs typeface="+mn-cs"/>
                </a:defRPr>
              </a:lvl4pPr>
              <a:lvl5pPr marL="847725" lvl="4" indent="-177800" defTabSz="895350" eaLnBrk="1" hangingPunct="1">
                <a:buClr>
                  <a:schemeClr val="tx2"/>
                </a:buClr>
                <a:buSzPct val="89000"/>
                <a:buFont typeface="Arial" pitchFamily="34" charset="0"/>
                <a:buChar char="-"/>
                <a:defRPr lang="en-US" baseline="0" dirty="0" smtClean="0">
                  <a:latin typeface="+mn-lt"/>
                  <a:cs typeface="+mn-cs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69835">
                <a:buClr>
                  <a:srgbClr val="000000"/>
                </a:buClr>
                <a:defRPr/>
              </a:pPr>
              <a:r>
                <a:rPr lang="en-US" sz="1067">
                  <a:solidFill>
                    <a:srgbClr val="000000"/>
                  </a:solidFill>
                  <a:latin typeface="Arial"/>
                  <a:cs typeface="Arial"/>
                </a:rPr>
                <a:t>5-10 minutes</a:t>
              </a:r>
              <a:br>
                <a:rPr lang="en-US" sz="1067">
                  <a:solidFill>
                    <a:srgbClr val="000000"/>
                  </a:solidFill>
                  <a:latin typeface="Arial"/>
                  <a:cs typeface="Arial"/>
                </a:rPr>
              </a:br>
              <a:r>
                <a:rPr lang="en-US" sz="1067">
                  <a:solidFill>
                    <a:srgbClr val="000000"/>
                  </a:solidFill>
                  <a:latin typeface="Arial"/>
                  <a:cs typeface="Arial"/>
                </a:rPr>
                <a:t>(as needed)</a:t>
              </a:r>
              <a:endParaRPr lang="en-AU" sz="1067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7" name="Rectangle 4">
              <a:extLst>
                <a:ext uri="{FF2B5EF4-FFF2-40B4-BE49-F238E27FC236}">
                  <a16:creationId xmlns:a16="http://schemas.microsoft.com/office/drawing/2014/main" id="{58DF606E-2388-4A17-BF3B-AEDEB52A84BA}"/>
                </a:ext>
              </a:extLst>
            </p:cNvPr>
            <p:cNvSpPr txBox="1">
              <a:spLocks/>
            </p:cNvSpPr>
            <p:nvPr/>
          </p:nvSpPr>
          <p:spPr>
            <a:xfrm>
              <a:off x="4552827" y="2414506"/>
              <a:ext cx="2000411" cy="13558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buFontTx/>
                <a:buNone/>
                <a:defRPr lang="en-US" baseline="0" dirty="0" smtClean="0">
                  <a:latin typeface="+mn-lt"/>
                  <a:cs typeface="+mn-cs"/>
                </a:defRPr>
              </a:lvl1pPr>
              <a:lvl2pPr marL="209550" lvl="1" indent="-209550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lang="en-US" baseline="0" dirty="0" smtClean="0">
                  <a:latin typeface="+mn-lt"/>
                  <a:cs typeface="+mn-cs"/>
                </a:defRPr>
              </a:lvl2pPr>
              <a:lvl3pPr marL="479425" lvl="2" indent="-26670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lang="en-US" baseline="0" dirty="0" smtClean="0">
                  <a:latin typeface="+mn-lt"/>
                  <a:cs typeface="+mn-cs"/>
                </a:defRPr>
              </a:lvl3pPr>
              <a:lvl4pPr marL="657225" lvl="3" indent="-18415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dirty="0" smtClean="0">
                  <a:latin typeface="+mn-lt"/>
                  <a:cs typeface="+mn-cs"/>
                </a:defRPr>
              </a:lvl4pPr>
              <a:lvl5pPr marL="847725" lvl="4" indent="-177800" defTabSz="895350" eaLnBrk="1" hangingPunct="1">
                <a:buClr>
                  <a:schemeClr val="tx2"/>
                </a:buClr>
                <a:buSzPct val="89000"/>
                <a:buFont typeface="Arial" pitchFamily="34" charset="0"/>
                <a:buChar char="-"/>
                <a:defRPr lang="en-US" baseline="0" dirty="0" smtClean="0">
                  <a:latin typeface="+mn-lt"/>
                  <a:cs typeface="+mn-cs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69835">
                <a:buClr>
                  <a:srgbClr val="000000"/>
                </a:buClr>
                <a:defRPr/>
              </a:pPr>
              <a:r>
                <a:rPr lang="en-AU" sz="749" b="1" dirty="0">
                  <a:solidFill>
                    <a:srgbClr val="000000"/>
                  </a:solidFill>
                  <a:latin typeface="Arial"/>
                  <a:cs typeface="Arial"/>
                  <a:hlinkClick r:id="rId5"/>
                </a:rPr>
                <a:t>Review Action log </a:t>
              </a:r>
              <a:endParaRPr lang="en-AU" sz="749" b="1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8" name="Rectangle 4">
              <a:extLst>
                <a:ext uri="{FF2B5EF4-FFF2-40B4-BE49-F238E27FC236}">
                  <a16:creationId xmlns:a16="http://schemas.microsoft.com/office/drawing/2014/main" id="{4BE0A622-686D-4524-A019-5D8B37ADBD16}"/>
                </a:ext>
              </a:extLst>
            </p:cNvPr>
            <p:cNvSpPr txBox="1">
              <a:spLocks/>
            </p:cNvSpPr>
            <p:nvPr/>
          </p:nvSpPr>
          <p:spPr>
            <a:xfrm>
              <a:off x="8383051" y="2395484"/>
              <a:ext cx="1040109" cy="1931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buFontTx/>
                <a:buNone/>
                <a:defRPr lang="en-US" baseline="0" dirty="0" smtClean="0">
                  <a:latin typeface="+mn-lt"/>
                  <a:cs typeface="+mn-cs"/>
                </a:defRPr>
              </a:lvl1pPr>
              <a:lvl2pPr marL="209550" lvl="1" indent="-209550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lang="en-US" baseline="0" dirty="0" smtClean="0">
                  <a:latin typeface="+mn-lt"/>
                  <a:cs typeface="+mn-cs"/>
                </a:defRPr>
              </a:lvl2pPr>
              <a:lvl3pPr marL="479425" lvl="2" indent="-26670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lang="en-US" baseline="0" dirty="0" smtClean="0">
                  <a:latin typeface="+mn-lt"/>
                  <a:cs typeface="+mn-cs"/>
                </a:defRPr>
              </a:lvl3pPr>
              <a:lvl4pPr marL="657225" lvl="3" indent="-18415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dirty="0" smtClean="0">
                  <a:latin typeface="+mn-lt"/>
                  <a:cs typeface="+mn-cs"/>
                </a:defRPr>
              </a:lvl4pPr>
              <a:lvl5pPr marL="847725" lvl="4" indent="-177800" defTabSz="895350" eaLnBrk="1" hangingPunct="1">
                <a:buClr>
                  <a:schemeClr val="tx2"/>
                </a:buClr>
                <a:buSzPct val="89000"/>
                <a:buFont typeface="Arial" pitchFamily="34" charset="0"/>
                <a:buChar char="-"/>
                <a:defRPr lang="en-US" baseline="0" dirty="0" smtClean="0">
                  <a:latin typeface="+mn-lt"/>
                  <a:cs typeface="+mn-cs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69835">
                <a:buClr>
                  <a:srgbClr val="000000"/>
                </a:buClr>
                <a:defRPr/>
              </a:pPr>
              <a:r>
                <a:rPr lang="en-US" sz="1067" dirty="0">
                  <a:solidFill>
                    <a:srgbClr val="000000"/>
                  </a:solidFill>
                  <a:latin typeface="Arial"/>
                  <a:cs typeface="Arial"/>
                </a:rPr>
                <a:t>5 minutes</a:t>
              </a:r>
              <a:endParaRPr lang="en-AU" sz="1067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9" name="Rectangle 4">
              <a:extLst>
                <a:ext uri="{FF2B5EF4-FFF2-40B4-BE49-F238E27FC236}">
                  <a16:creationId xmlns:a16="http://schemas.microsoft.com/office/drawing/2014/main" id="{8F2B8CDD-1F4D-45D6-A1F2-3E69F629772E}"/>
                </a:ext>
              </a:extLst>
            </p:cNvPr>
            <p:cNvSpPr txBox="1">
              <a:spLocks/>
            </p:cNvSpPr>
            <p:nvPr/>
          </p:nvSpPr>
          <p:spPr>
            <a:xfrm>
              <a:off x="4366536" y="2537986"/>
              <a:ext cx="3947502" cy="54232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buFontTx/>
                <a:buNone/>
                <a:defRPr lang="en-US" baseline="0" dirty="0" smtClean="0">
                  <a:latin typeface="+mn-lt"/>
                  <a:cs typeface="+mn-cs"/>
                </a:defRPr>
              </a:lvl1pPr>
              <a:lvl2pPr marL="209550" lvl="1" indent="-209550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lang="en-US" baseline="0" dirty="0" smtClean="0">
                  <a:latin typeface="+mn-lt"/>
                  <a:cs typeface="+mn-cs"/>
                </a:defRPr>
              </a:lvl2pPr>
              <a:lvl3pPr marL="479425" lvl="2" indent="-26670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lang="en-US" baseline="0" dirty="0" smtClean="0">
                  <a:latin typeface="+mn-lt"/>
                  <a:cs typeface="+mn-cs"/>
                </a:defRPr>
              </a:lvl3pPr>
              <a:lvl4pPr marL="657225" lvl="3" indent="-18415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dirty="0" smtClean="0">
                  <a:latin typeface="+mn-lt"/>
                  <a:cs typeface="+mn-cs"/>
                </a:defRPr>
              </a:lvl4pPr>
              <a:lvl5pPr marL="847725" lvl="4" indent="-177800" defTabSz="895350" eaLnBrk="1" hangingPunct="1">
                <a:buClr>
                  <a:schemeClr val="tx2"/>
                </a:buClr>
                <a:buSzPct val="89000"/>
                <a:buFont typeface="Arial" pitchFamily="34" charset="0"/>
                <a:buChar char="-"/>
                <a:defRPr lang="en-US" baseline="0" dirty="0" smtClean="0">
                  <a:latin typeface="+mn-lt"/>
                  <a:cs typeface="+mn-cs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lvl="1" indent="0" defTabSz="669835">
                <a:buClr>
                  <a:srgbClr val="000000"/>
                </a:buClr>
                <a:buNone/>
                <a:defRPr/>
              </a:pPr>
              <a:endParaRPr lang="en-US" sz="749" dirty="0">
                <a:solidFill>
                  <a:srgbClr val="519137"/>
                </a:solidFill>
                <a:latin typeface="Arial"/>
                <a:cs typeface="Arial"/>
              </a:endParaRPr>
            </a:p>
            <a:p>
              <a:pPr marL="358670" lvl="2" indent="-199525" defTabSz="669835">
                <a:buClr>
                  <a:srgbClr val="000000"/>
                </a:buClr>
                <a:defRPr/>
              </a:pPr>
              <a:endParaRPr lang="en-US" sz="749" dirty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marL="88795" lvl="1" indent="-199525" defTabSz="669835">
                <a:buClr>
                  <a:srgbClr val="000000"/>
                </a:buClr>
                <a:defRPr/>
              </a:pPr>
              <a:r>
                <a:rPr lang="en-US" sz="749" dirty="0">
                  <a:solidFill>
                    <a:srgbClr val="000000"/>
                  </a:solidFill>
                  <a:latin typeface="Arial"/>
                  <a:cs typeface="Arial"/>
                  <a:hlinkClick r:id="rId6"/>
                </a:rPr>
                <a:t>Financial dashboard </a:t>
              </a:r>
              <a:endParaRPr lang="en-US" sz="749" dirty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marL="88795" lvl="1" indent="-199525" defTabSz="669835">
                <a:buClr>
                  <a:srgbClr val="000000"/>
                </a:buClr>
                <a:defRPr/>
              </a:pPr>
              <a:r>
                <a:rPr lang="en-US" sz="749" dirty="0">
                  <a:solidFill>
                    <a:srgbClr val="000000"/>
                  </a:solidFill>
                  <a:latin typeface="Arial"/>
                  <a:cs typeface="Arial"/>
                  <a:hlinkClick r:id="rId5"/>
                </a:rPr>
                <a:t>Gate review planning </a:t>
              </a:r>
              <a:endParaRPr lang="en-US" sz="749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0" name="Rectangle 4">
              <a:extLst>
                <a:ext uri="{FF2B5EF4-FFF2-40B4-BE49-F238E27FC236}">
                  <a16:creationId xmlns:a16="http://schemas.microsoft.com/office/drawing/2014/main" id="{9EE9A562-5E2F-4249-B253-8A98DE7FF339}"/>
                </a:ext>
              </a:extLst>
            </p:cNvPr>
            <p:cNvSpPr txBox="1">
              <a:spLocks/>
            </p:cNvSpPr>
            <p:nvPr/>
          </p:nvSpPr>
          <p:spPr>
            <a:xfrm>
              <a:off x="2268104" y="2681277"/>
              <a:ext cx="2000411" cy="13558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buFontTx/>
                <a:buNone/>
                <a:defRPr lang="en-US" baseline="0" dirty="0" smtClean="0">
                  <a:latin typeface="+mn-lt"/>
                  <a:cs typeface="+mn-cs"/>
                </a:defRPr>
              </a:lvl1pPr>
              <a:lvl2pPr marL="209550" lvl="1" indent="-209550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lang="en-US" baseline="0" dirty="0" smtClean="0">
                  <a:latin typeface="+mn-lt"/>
                  <a:cs typeface="+mn-cs"/>
                </a:defRPr>
              </a:lvl2pPr>
              <a:lvl3pPr marL="479425" lvl="2" indent="-26670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lang="en-US" baseline="0" dirty="0" smtClean="0">
                  <a:latin typeface="+mn-lt"/>
                  <a:cs typeface="+mn-cs"/>
                </a:defRPr>
              </a:lvl3pPr>
              <a:lvl4pPr marL="657225" lvl="3" indent="-18415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dirty="0" smtClean="0">
                  <a:latin typeface="+mn-lt"/>
                  <a:cs typeface="+mn-cs"/>
                </a:defRPr>
              </a:lvl4pPr>
              <a:lvl5pPr marL="847725" lvl="4" indent="-177800" defTabSz="895350" eaLnBrk="1" hangingPunct="1">
                <a:buClr>
                  <a:schemeClr val="tx2"/>
                </a:buClr>
                <a:buSzPct val="89000"/>
                <a:buFont typeface="Arial" pitchFamily="34" charset="0"/>
                <a:buChar char="-"/>
                <a:defRPr lang="en-US" baseline="0" dirty="0" smtClean="0">
                  <a:latin typeface="+mn-lt"/>
                  <a:cs typeface="+mn-cs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69835">
                <a:buClr>
                  <a:srgbClr val="000000"/>
                </a:buClr>
                <a:defRPr/>
              </a:pPr>
              <a:r>
                <a:rPr lang="en-AU" sz="749" b="1" dirty="0">
                  <a:solidFill>
                    <a:srgbClr val="000000"/>
                  </a:solidFill>
                  <a:latin typeface="Arial"/>
                  <a:cs typeface="Arial"/>
                </a:rPr>
                <a:t>KPI’s </a:t>
              </a:r>
            </a:p>
          </p:txBody>
        </p:sp>
        <p:sp>
          <p:nvSpPr>
            <p:cNvPr id="31" name="Rectangle 4">
              <a:extLst>
                <a:ext uri="{FF2B5EF4-FFF2-40B4-BE49-F238E27FC236}">
                  <a16:creationId xmlns:a16="http://schemas.microsoft.com/office/drawing/2014/main" id="{F6BE18D7-B3E9-4E37-A828-F8CBED5605F4}"/>
                </a:ext>
              </a:extLst>
            </p:cNvPr>
            <p:cNvSpPr txBox="1">
              <a:spLocks/>
            </p:cNvSpPr>
            <p:nvPr/>
          </p:nvSpPr>
          <p:spPr>
            <a:xfrm>
              <a:off x="8393065" y="2948621"/>
              <a:ext cx="1179302" cy="1931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buFontTx/>
                <a:buNone/>
                <a:defRPr lang="en-US" baseline="0" dirty="0" smtClean="0">
                  <a:latin typeface="+mn-lt"/>
                  <a:cs typeface="+mn-cs"/>
                </a:defRPr>
              </a:lvl1pPr>
              <a:lvl2pPr marL="209550" lvl="1" indent="-209550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lang="en-US" baseline="0" dirty="0" smtClean="0">
                  <a:latin typeface="+mn-lt"/>
                  <a:cs typeface="+mn-cs"/>
                </a:defRPr>
              </a:lvl2pPr>
              <a:lvl3pPr marL="479425" lvl="2" indent="-26670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lang="en-US" baseline="0" dirty="0" smtClean="0">
                  <a:latin typeface="+mn-lt"/>
                  <a:cs typeface="+mn-cs"/>
                </a:defRPr>
              </a:lvl3pPr>
              <a:lvl4pPr marL="657225" lvl="3" indent="-18415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dirty="0" smtClean="0">
                  <a:latin typeface="+mn-lt"/>
                  <a:cs typeface="+mn-cs"/>
                </a:defRPr>
              </a:lvl4pPr>
              <a:lvl5pPr marL="847725" lvl="4" indent="-177800" defTabSz="895350" eaLnBrk="1" hangingPunct="1">
                <a:buClr>
                  <a:schemeClr val="tx2"/>
                </a:buClr>
                <a:buSzPct val="89000"/>
                <a:buFont typeface="Arial" pitchFamily="34" charset="0"/>
                <a:buChar char="-"/>
                <a:defRPr lang="en-US" baseline="0" dirty="0" smtClean="0">
                  <a:latin typeface="+mn-lt"/>
                  <a:cs typeface="+mn-cs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69835">
                <a:buClr>
                  <a:srgbClr val="000000"/>
                </a:buClr>
                <a:defRPr/>
              </a:pPr>
              <a:r>
                <a:rPr lang="en-US" sz="1067" dirty="0">
                  <a:solidFill>
                    <a:srgbClr val="000000"/>
                  </a:solidFill>
                  <a:latin typeface="Arial"/>
                  <a:cs typeface="Arial"/>
                </a:rPr>
                <a:t>10 minutes</a:t>
              </a:r>
              <a:endParaRPr lang="en-AU" sz="1067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7656EBA-BEBE-47EC-840E-714F17480C6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181260" y="3778986"/>
              <a:ext cx="7161646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Marvin tracker circle">
              <a:extLst>
                <a:ext uri="{FF2B5EF4-FFF2-40B4-BE49-F238E27FC236}">
                  <a16:creationId xmlns:a16="http://schemas.microsoft.com/office/drawing/2014/main" id="{0503FB84-D10E-4702-881E-7C5FFE3EB02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71746" y="1894187"/>
              <a:ext cx="227008" cy="227008"/>
            </a:xfrm>
            <a:prstGeom prst="ellipse">
              <a:avLst/>
            </a:prstGeom>
            <a:solidFill>
              <a:srgbClr val="215968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 anchorCtr="1"/>
            <a:lstStyle/>
            <a:p>
              <a:pPr algn="ctr" defTabSz="684087"/>
              <a:r>
                <a:rPr lang="en-US" sz="1048" b="1">
                  <a:solidFill>
                    <a:srgbClr val="FFFFFF"/>
                  </a:solidFill>
                  <a:latin typeface="Arial"/>
                  <a:cs typeface="Arial"/>
                </a:rPr>
                <a:t>1</a:t>
              </a:r>
            </a:p>
          </p:txBody>
        </p:sp>
        <p:sp>
          <p:nvSpPr>
            <p:cNvPr id="34" name="Marvin tracker circle">
              <a:extLst>
                <a:ext uri="{FF2B5EF4-FFF2-40B4-BE49-F238E27FC236}">
                  <a16:creationId xmlns:a16="http://schemas.microsoft.com/office/drawing/2014/main" id="{A9D56AE8-5979-4155-8BDD-CAFC66B678B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54253" y="2305912"/>
              <a:ext cx="227008" cy="227008"/>
            </a:xfrm>
            <a:prstGeom prst="ellipse">
              <a:avLst/>
            </a:prstGeom>
            <a:solidFill>
              <a:srgbClr val="215968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 anchorCtr="1"/>
            <a:lstStyle/>
            <a:p>
              <a:pPr algn="ctr" defTabSz="684087"/>
              <a:r>
                <a:rPr lang="en-US" sz="1048" b="1">
                  <a:solidFill>
                    <a:srgbClr val="FFFFFF"/>
                  </a:solidFill>
                  <a:latin typeface="Arial"/>
                  <a:cs typeface="Arial"/>
                </a:rPr>
                <a:t>2</a:t>
              </a:r>
            </a:p>
          </p:txBody>
        </p:sp>
        <p:sp>
          <p:nvSpPr>
            <p:cNvPr id="35" name="Marvin tracker circle">
              <a:extLst>
                <a:ext uri="{FF2B5EF4-FFF2-40B4-BE49-F238E27FC236}">
                  <a16:creationId xmlns:a16="http://schemas.microsoft.com/office/drawing/2014/main" id="{B5B26CCC-DC6E-4B3F-BB0F-11E37720EE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54253" y="2681277"/>
              <a:ext cx="227008" cy="227008"/>
            </a:xfrm>
            <a:prstGeom prst="ellipse">
              <a:avLst/>
            </a:prstGeom>
            <a:solidFill>
              <a:srgbClr val="215968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 anchorCtr="1"/>
            <a:lstStyle/>
            <a:p>
              <a:pPr algn="ctr" defTabSz="684087"/>
              <a:r>
                <a:rPr lang="en-US" sz="1048" b="1">
                  <a:solidFill>
                    <a:srgbClr val="FFFFFF"/>
                  </a:solidFill>
                  <a:latin typeface="Arial"/>
                  <a:cs typeface="Arial"/>
                </a:rPr>
                <a:t>3</a:t>
              </a:r>
            </a:p>
          </p:txBody>
        </p:sp>
        <p:sp>
          <p:nvSpPr>
            <p:cNvPr id="36" name="Marvin tracker circle">
              <a:extLst>
                <a:ext uri="{FF2B5EF4-FFF2-40B4-BE49-F238E27FC236}">
                  <a16:creationId xmlns:a16="http://schemas.microsoft.com/office/drawing/2014/main" id="{34EF6A46-FA11-4387-A754-83D1B4C45EA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3238" y="3778988"/>
              <a:ext cx="227008" cy="227008"/>
            </a:xfrm>
            <a:prstGeom prst="ellipse">
              <a:avLst/>
            </a:prstGeom>
            <a:solidFill>
              <a:srgbClr val="215968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 anchorCtr="1"/>
            <a:lstStyle/>
            <a:p>
              <a:pPr algn="ctr" defTabSz="684087"/>
              <a:r>
                <a:rPr lang="en-US" sz="1048" b="1">
                  <a:solidFill>
                    <a:srgbClr val="FFFFFF"/>
                  </a:solidFill>
                  <a:latin typeface="Arial"/>
                  <a:cs typeface="Arial"/>
                </a:rPr>
                <a:t>4</a:t>
              </a:r>
            </a:p>
          </p:txBody>
        </p:sp>
        <p:sp>
          <p:nvSpPr>
            <p:cNvPr id="37" name="Marvin tracker circle">
              <a:extLst>
                <a:ext uri="{FF2B5EF4-FFF2-40B4-BE49-F238E27FC236}">
                  <a16:creationId xmlns:a16="http://schemas.microsoft.com/office/drawing/2014/main" id="{EEE971F8-249B-4CC4-8C3A-7F32F7D75B7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71746" y="4675948"/>
              <a:ext cx="227008" cy="227008"/>
            </a:xfrm>
            <a:prstGeom prst="ellipse">
              <a:avLst/>
            </a:prstGeom>
            <a:solidFill>
              <a:srgbClr val="215968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 anchorCtr="1"/>
            <a:lstStyle/>
            <a:p>
              <a:pPr algn="ctr" defTabSz="684087"/>
              <a:r>
                <a:rPr lang="en-US" sz="1048" b="1">
                  <a:solidFill>
                    <a:srgbClr val="FFFFFF"/>
                  </a:solidFill>
                  <a:latin typeface="Arial"/>
                  <a:cs typeface="Arial"/>
                </a:rPr>
                <a:t>5</a:t>
              </a:r>
            </a:p>
          </p:txBody>
        </p:sp>
        <p:sp>
          <p:nvSpPr>
            <p:cNvPr id="40" name="Marvin tracker circle">
              <a:extLst>
                <a:ext uri="{FF2B5EF4-FFF2-40B4-BE49-F238E27FC236}">
                  <a16:creationId xmlns:a16="http://schemas.microsoft.com/office/drawing/2014/main" id="{F8E1B2C5-80A9-43E9-9439-FD139C81D04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70895" y="5348533"/>
              <a:ext cx="227008" cy="227008"/>
            </a:xfrm>
            <a:prstGeom prst="ellipse">
              <a:avLst/>
            </a:prstGeom>
            <a:solidFill>
              <a:srgbClr val="215968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 anchorCtr="1"/>
            <a:lstStyle/>
            <a:p>
              <a:pPr algn="ctr" defTabSz="684087"/>
              <a:r>
                <a:rPr lang="en-US" sz="1048" b="1">
                  <a:solidFill>
                    <a:srgbClr val="FFFFFF"/>
                  </a:solidFill>
                  <a:latin typeface="Arial"/>
                  <a:cs typeface="Arial"/>
                </a:rPr>
                <a:t>6</a:t>
              </a:r>
            </a:p>
          </p:txBody>
        </p:sp>
        <p:sp>
          <p:nvSpPr>
            <p:cNvPr id="42" name="Rectangle 4">
              <a:extLst>
                <a:ext uri="{FF2B5EF4-FFF2-40B4-BE49-F238E27FC236}">
                  <a16:creationId xmlns:a16="http://schemas.microsoft.com/office/drawing/2014/main" id="{60223953-1193-49A4-AD06-CEFD46F48FBB}"/>
                </a:ext>
              </a:extLst>
            </p:cNvPr>
            <p:cNvSpPr txBox="1">
              <a:spLocks/>
            </p:cNvSpPr>
            <p:nvPr/>
          </p:nvSpPr>
          <p:spPr>
            <a:xfrm>
              <a:off x="2268105" y="5390411"/>
              <a:ext cx="2098435" cy="13558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buFontTx/>
                <a:buNone/>
                <a:defRPr lang="en-US" baseline="0" dirty="0" smtClean="0">
                  <a:latin typeface="+mn-lt"/>
                  <a:cs typeface="+mn-cs"/>
                </a:defRPr>
              </a:lvl1pPr>
              <a:lvl2pPr marL="209550" lvl="1" indent="-209550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lang="en-US" baseline="0" dirty="0" smtClean="0">
                  <a:latin typeface="+mn-lt"/>
                  <a:cs typeface="+mn-cs"/>
                </a:defRPr>
              </a:lvl2pPr>
              <a:lvl3pPr marL="479425" lvl="2" indent="-26670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lang="en-US" baseline="0" dirty="0" smtClean="0">
                  <a:latin typeface="+mn-lt"/>
                  <a:cs typeface="+mn-cs"/>
                </a:defRPr>
              </a:lvl3pPr>
              <a:lvl4pPr marL="657225" lvl="3" indent="-18415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dirty="0" smtClean="0">
                  <a:latin typeface="+mn-lt"/>
                  <a:cs typeface="+mn-cs"/>
                </a:defRPr>
              </a:lvl4pPr>
              <a:lvl5pPr marL="847725" lvl="4" indent="-177800" defTabSz="895350" eaLnBrk="1" hangingPunct="1">
                <a:buClr>
                  <a:schemeClr val="tx2"/>
                </a:buClr>
                <a:buSzPct val="89000"/>
                <a:buFont typeface="Arial" pitchFamily="34" charset="0"/>
                <a:buChar char="-"/>
                <a:defRPr lang="en-US" baseline="0" dirty="0" smtClean="0">
                  <a:latin typeface="+mn-lt"/>
                  <a:cs typeface="+mn-cs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69835">
                <a:buClr>
                  <a:srgbClr val="000000"/>
                </a:buClr>
                <a:defRPr/>
              </a:pPr>
              <a:r>
                <a:rPr lang="en-US" sz="749" b="1" dirty="0">
                  <a:solidFill>
                    <a:srgbClr val="000000"/>
                  </a:solidFill>
                  <a:latin typeface="Arial"/>
                  <a:cs typeface="Arial"/>
                </a:rPr>
                <a:t>Round table </a:t>
              </a:r>
              <a:endParaRPr lang="en-AU" sz="749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3" name="Rectangle 4">
              <a:extLst>
                <a:ext uri="{FF2B5EF4-FFF2-40B4-BE49-F238E27FC236}">
                  <a16:creationId xmlns:a16="http://schemas.microsoft.com/office/drawing/2014/main" id="{B4760C93-4D48-4C0C-9A4C-E776D78D8DC6}"/>
                </a:ext>
              </a:extLst>
            </p:cNvPr>
            <p:cNvSpPr txBox="1">
              <a:spLocks/>
            </p:cNvSpPr>
            <p:nvPr/>
          </p:nvSpPr>
          <p:spPr>
            <a:xfrm>
              <a:off x="4243218" y="5422034"/>
              <a:ext cx="3947502" cy="13558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buFontTx/>
                <a:buNone/>
                <a:defRPr lang="en-US" baseline="0" dirty="0" smtClean="0">
                  <a:latin typeface="+mn-lt"/>
                  <a:cs typeface="+mn-cs"/>
                </a:defRPr>
              </a:lvl1pPr>
              <a:lvl2pPr marL="209550" lvl="1" indent="-209550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lang="en-US" baseline="0" dirty="0" smtClean="0">
                  <a:latin typeface="+mn-lt"/>
                  <a:cs typeface="+mn-cs"/>
                </a:defRPr>
              </a:lvl2pPr>
              <a:lvl3pPr marL="479425" lvl="2" indent="-26670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lang="en-US" baseline="0" dirty="0" smtClean="0">
                  <a:latin typeface="+mn-lt"/>
                  <a:cs typeface="+mn-cs"/>
                </a:defRPr>
              </a:lvl3pPr>
              <a:lvl4pPr marL="657225" lvl="3" indent="-18415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dirty="0" smtClean="0">
                  <a:latin typeface="+mn-lt"/>
                  <a:cs typeface="+mn-cs"/>
                </a:defRPr>
              </a:lvl4pPr>
              <a:lvl5pPr marL="847725" lvl="4" indent="-177800" defTabSz="895350" eaLnBrk="1" hangingPunct="1">
                <a:buClr>
                  <a:schemeClr val="tx2"/>
                </a:buClr>
                <a:buSzPct val="89000"/>
                <a:buFont typeface="Arial" pitchFamily="34" charset="0"/>
                <a:buChar char="-"/>
                <a:defRPr lang="en-US" baseline="0" dirty="0" smtClean="0">
                  <a:latin typeface="+mn-lt"/>
                  <a:cs typeface="+mn-cs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6770" lvl="1" indent="-156770" defTabSz="669835">
                <a:buClr>
                  <a:srgbClr val="000000"/>
                </a:buClr>
                <a:defRPr/>
              </a:pPr>
              <a:r>
                <a:rPr lang="en-US" sz="749">
                  <a:solidFill>
                    <a:prstClr val="black"/>
                  </a:solidFill>
                  <a:latin typeface="Arial"/>
                  <a:cs typeface="Arial"/>
                </a:rPr>
                <a:t>Evaluate whether the meeting's objectives were achieved</a:t>
              </a:r>
              <a:endParaRPr lang="en-US" sz="749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4" name="Rectangle 4">
              <a:extLst>
                <a:ext uri="{FF2B5EF4-FFF2-40B4-BE49-F238E27FC236}">
                  <a16:creationId xmlns:a16="http://schemas.microsoft.com/office/drawing/2014/main" id="{82E5250D-7A79-42F1-B898-683C7BD1AF3E}"/>
                </a:ext>
              </a:extLst>
            </p:cNvPr>
            <p:cNvSpPr txBox="1">
              <a:spLocks/>
            </p:cNvSpPr>
            <p:nvPr/>
          </p:nvSpPr>
          <p:spPr>
            <a:xfrm>
              <a:off x="8318039" y="5387025"/>
              <a:ext cx="1105118" cy="1931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buFontTx/>
                <a:buNone/>
                <a:defRPr lang="en-US" baseline="0" dirty="0" smtClean="0">
                  <a:latin typeface="+mn-lt"/>
                  <a:cs typeface="+mn-cs"/>
                </a:defRPr>
              </a:lvl1pPr>
              <a:lvl2pPr marL="209550" lvl="1" indent="-209550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lang="en-US" baseline="0" dirty="0" smtClean="0">
                  <a:latin typeface="+mn-lt"/>
                  <a:cs typeface="+mn-cs"/>
                </a:defRPr>
              </a:lvl2pPr>
              <a:lvl3pPr marL="479425" lvl="2" indent="-26670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lang="en-US" baseline="0" dirty="0" smtClean="0">
                  <a:latin typeface="+mn-lt"/>
                  <a:cs typeface="+mn-cs"/>
                </a:defRPr>
              </a:lvl3pPr>
              <a:lvl4pPr marL="657225" lvl="3" indent="-184150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dirty="0" smtClean="0">
                  <a:latin typeface="+mn-lt"/>
                  <a:cs typeface="+mn-cs"/>
                </a:defRPr>
              </a:lvl4pPr>
              <a:lvl5pPr marL="847725" lvl="4" indent="-177800" defTabSz="895350" eaLnBrk="1" hangingPunct="1">
                <a:buClr>
                  <a:schemeClr val="tx2"/>
                </a:buClr>
                <a:buSzPct val="89000"/>
                <a:buFont typeface="Arial" pitchFamily="34" charset="0"/>
                <a:buChar char="-"/>
                <a:defRPr lang="en-US" baseline="0" dirty="0" smtClean="0">
                  <a:latin typeface="+mn-lt"/>
                  <a:cs typeface="+mn-cs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69835">
                <a:buClr>
                  <a:srgbClr val="000000"/>
                </a:buClr>
                <a:defRPr/>
              </a:pPr>
              <a:r>
                <a:rPr lang="en-US" sz="1067">
                  <a:solidFill>
                    <a:srgbClr val="000000"/>
                  </a:solidFill>
                  <a:latin typeface="Arial"/>
                  <a:cs typeface="Arial"/>
                </a:rPr>
                <a:t>3-5 minutes</a:t>
              </a:r>
              <a:endParaRPr lang="en-AU" sz="1067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B55155D2-1806-4D4F-8F0B-C87A7888F6C3}"/>
              </a:ext>
            </a:extLst>
          </p:cNvPr>
          <p:cNvCxnSpPr/>
          <p:nvPr/>
        </p:nvCxnSpPr>
        <p:spPr>
          <a:xfrm>
            <a:off x="467380" y="1661733"/>
            <a:ext cx="8209241" cy="0"/>
          </a:xfrm>
          <a:prstGeom prst="line">
            <a:avLst/>
          </a:prstGeom>
          <a:ln w="12700">
            <a:solidFill>
              <a:srgbClr val="005F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Slide Number Placeholder 1">
            <a:extLst>
              <a:ext uri="{FF2B5EF4-FFF2-40B4-BE49-F238E27FC236}">
                <a16:creationId xmlns:a16="http://schemas.microsoft.com/office/drawing/2014/main" id="{2CFCD23C-34E1-44A1-9E0A-05C66833A452}"/>
              </a:ext>
            </a:extLst>
          </p:cNvPr>
          <p:cNvSpPr txBox="1">
            <a:spLocks/>
          </p:cNvSpPr>
          <p:nvPr/>
        </p:nvSpPr>
        <p:spPr>
          <a:xfrm>
            <a:off x="8561541" y="5693649"/>
            <a:ext cx="115416" cy="12279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 defTabSz="912116"/>
            <a:fld id="{746372F0-8F5B-47E8-9A0C-8905EFF44332}" type="slidenum">
              <a:rPr lang="en-US" sz="798">
                <a:solidFill>
                  <a:srgbClr val="000000">
                    <a:tint val="75000"/>
                  </a:srgbClr>
                </a:solidFill>
              </a:rPr>
              <a:pPr defTabSz="912116"/>
              <a:t>9</a:t>
            </a:fld>
            <a:endParaRPr lang="en-US" sz="798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4240014-1E07-44AE-9575-21F6B8120A95}"/>
              </a:ext>
            </a:extLst>
          </p:cNvPr>
          <p:cNvSpPr txBox="1"/>
          <p:nvPr/>
        </p:nvSpPr>
        <p:spPr>
          <a:xfrm>
            <a:off x="5670987" y="5693650"/>
            <a:ext cx="2398722" cy="12279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defTabSz="912116" eaLnBrk="1" hangingPunct="1"/>
            <a:r>
              <a:rPr lang="en-US" altLang="en-US" sz="798">
                <a:solidFill>
                  <a:srgbClr val="959595"/>
                </a:solidFill>
                <a:cs typeface="Arial" pitchFamily="34" charset="0"/>
              </a:rPr>
              <a:t>© </a:t>
            </a:r>
            <a:r>
              <a:rPr lang="is-IS" altLang="en-US" sz="798">
                <a:solidFill>
                  <a:srgbClr val="959595"/>
                </a:solidFill>
                <a:cs typeface="Arial" pitchFamily="34" charset="0"/>
              </a:rPr>
              <a:t>2021</a:t>
            </a:r>
            <a:r>
              <a:rPr lang="en-US" altLang="en-US" sz="798">
                <a:solidFill>
                  <a:srgbClr val="959595"/>
                </a:solidFill>
                <a:cs typeface="Arial" pitchFamily="34" charset="0"/>
              </a:rPr>
              <a:t> Cargill, Incorporated. All rights reserved.</a:t>
            </a:r>
            <a:endParaRPr lang="en-US" altLang="en-US" sz="798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5" name="Rectangle 4">
            <a:extLst>
              <a:ext uri="{FF2B5EF4-FFF2-40B4-BE49-F238E27FC236}">
                <a16:creationId xmlns:a16="http://schemas.microsoft.com/office/drawing/2014/main" id="{C0CACA3D-73E5-52F6-A352-1D3AD69ECF61}"/>
              </a:ext>
            </a:extLst>
          </p:cNvPr>
          <p:cNvSpPr txBox="1">
            <a:spLocks/>
          </p:cNvSpPr>
          <p:nvPr/>
        </p:nvSpPr>
        <p:spPr>
          <a:xfrm>
            <a:off x="997666" y="2597591"/>
            <a:ext cx="2134468" cy="1152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buFontTx/>
              <a:buNone/>
              <a:defRPr lang="en-US" baseline="0" dirty="0" smtClean="0">
                <a:latin typeface="+mn-lt"/>
                <a:cs typeface="+mn-cs"/>
              </a:defRPr>
            </a:lvl1pPr>
            <a:lvl2pPr marL="209550" lvl="1" indent="-209550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▪"/>
              <a:defRPr lang="en-US" baseline="0" dirty="0" smtClean="0">
                <a:latin typeface="+mn-lt"/>
                <a:cs typeface="+mn-cs"/>
              </a:defRPr>
            </a:lvl2pPr>
            <a:lvl3pPr marL="479425" lvl="2" indent="-26670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–"/>
              <a:defRPr lang="en-US" baseline="0" dirty="0" smtClean="0">
                <a:latin typeface="+mn-lt"/>
                <a:cs typeface="+mn-cs"/>
              </a:defRPr>
            </a:lvl3pPr>
            <a:lvl4pPr marL="657225" lvl="3" indent="-18415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dirty="0" smtClean="0">
                <a:latin typeface="+mn-lt"/>
                <a:cs typeface="+mn-cs"/>
              </a:defRPr>
            </a:lvl4pPr>
            <a:lvl5pPr marL="847725" lvl="4" indent="-177800" defTabSz="895350" eaLnBrk="1" hangingPunct="1">
              <a:buClr>
                <a:schemeClr val="tx2"/>
              </a:buClr>
              <a:buSzPct val="89000"/>
              <a:buFont typeface="Arial" pitchFamily="34" charset="0"/>
              <a:buChar char="-"/>
              <a:defRPr lang="en-US" baseline="0" dirty="0" smtClean="0">
                <a:latin typeface="+mn-lt"/>
                <a:cs typeface="+mn-cs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669835">
              <a:buClr>
                <a:srgbClr val="000000"/>
              </a:buClr>
              <a:defRPr/>
            </a:pPr>
            <a:r>
              <a:rPr lang="en-AU" sz="749" b="1" dirty="0">
                <a:solidFill>
                  <a:srgbClr val="000000"/>
                </a:solidFill>
                <a:latin typeface="Arial"/>
                <a:cs typeface="Arial"/>
              </a:rPr>
              <a:t>Action tracker  </a:t>
            </a:r>
          </a:p>
        </p:txBody>
      </p:sp>
    </p:spTree>
    <p:extLst>
      <p:ext uri="{BB962C8B-B14F-4D97-AF65-F5344CB8AC3E}">
        <p14:creationId xmlns:p14="http://schemas.microsoft.com/office/powerpoint/2010/main" val="3586864825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d25684445f3eb47c04d39047ed3eddd838d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K4oliMTvkubIr88qNbgP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jP5kF2yuESHNL01FU4cz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8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8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8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88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8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9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91"/>
  <p:tag name="BAINBULLETSACTIVATED" val="True"/>
  <p:tag name="BAINBULLETSLEVELSFINGERPRINT" val="-493744337"/>
  <p:tag name="BAINBULLETSLINESPACING" val="2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9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93"/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96"/>
  <p:tag name="BTFPLAYOUTENABLED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0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0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07"/>
  <p:tag name="BAINBULLETSACTIVATED" val="Fals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10"/>
  <p:tag name="BAINBULLETSACTIVATED" val="Fals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13"/>
  <p:tag name="BAINBULLETSACTIVATED" val="Fals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16"/>
  <p:tag name="BAINBULLETSACTIVATED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19"/>
  <p:tag name="BAINBULLETSACTIVATED" val="Fals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22"/>
  <p:tag name="BAINBULLETSACTIVATED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28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2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3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332"/>
  <p:tag name="BTFPLAYOUTENABLED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0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0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86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8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9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22"/>
  <p:tag name="BAINBULLETSACTIVATED" val="Fal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06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2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2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33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33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2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2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2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B3myN5EKkyRAMbLWanj2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2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17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18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1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1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1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1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08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209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9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BBMzNMCFEC9U2UX61cnd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98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9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9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8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8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8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jP5kF2yuESHNL01FU4c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K4oliMTvkubIr88qNbg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jP5kF2yuESHNL01FU4czQ"/>
</p:tagLst>
</file>

<file path=ppt/theme/theme1.xml><?xml version="1.0" encoding="utf-8"?>
<a:theme xmlns:a="http://schemas.openxmlformats.org/drawingml/2006/main" name="BlueMaster">
  <a:themeElements>
    <a:clrScheme name="Custom 42">
      <a:dk1>
        <a:srgbClr val="000000"/>
      </a:dk1>
      <a:lt1>
        <a:srgbClr val="FFFFFF"/>
      </a:lt1>
      <a:dk2>
        <a:srgbClr val="D0D0CE"/>
      </a:dk2>
      <a:lt2>
        <a:srgbClr val="97999B"/>
      </a:lt2>
      <a:accent1>
        <a:srgbClr val="005F86"/>
      </a:accent1>
      <a:accent2>
        <a:srgbClr val="007681"/>
      </a:accent2>
      <a:accent3>
        <a:srgbClr val="279989"/>
      </a:accent3>
      <a:accent4>
        <a:srgbClr val="658D1B"/>
      </a:accent4>
      <a:accent5>
        <a:srgbClr val="ABAD1B"/>
      </a:accent5>
      <a:accent6>
        <a:srgbClr val="DAAA00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argill_Corp_PowerPoint_BLUE_4-3_r01.pptx" id="{745CCCDC-1439-4D16-80D6-A3D87D158129}" vid="{9B115CD3-62D9-433B-9C11-08E0436F3BEA}"/>
    </a:ext>
  </a:extLst>
</a:theme>
</file>

<file path=ppt/theme/theme2.xml><?xml version="1.0" encoding="utf-8"?>
<a:theme xmlns:a="http://schemas.openxmlformats.org/drawingml/2006/main" name="Standard Blue Presenations">
  <a:themeElements>
    <a:clrScheme name="Custom 42">
      <a:dk1>
        <a:srgbClr val="000000"/>
      </a:dk1>
      <a:lt1>
        <a:srgbClr val="FFFFFF"/>
      </a:lt1>
      <a:dk2>
        <a:srgbClr val="D0D0CE"/>
      </a:dk2>
      <a:lt2>
        <a:srgbClr val="97999B"/>
      </a:lt2>
      <a:accent1>
        <a:srgbClr val="005F86"/>
      </a:accent1>
      <a:accent2>
        <a:srgbClr val="007681"/>
      </a:accent2>
      <a:accent3>
        <a:srgbClr val="279989"/>
      </a:accent3>
      <a:accent4>
        <a:srgbClr val="658D1B"/>
      </a:accent4>
      <a:accent5>
        <a:srgbClr val="ABAD1B"/>
      </a:accent5>
      <a:accent6>
        <a:srgbClr val="DAAA00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tandard Blue Presenations" id="{EC586469-13F4-40CE-9E1A-A3CB0213DFF5}" vid="{8EA56552-831C-431B-9BF8-3116E9878EBD}"/>
    </a:ext>
  </a:extLst>
</a:theme>
</file>

<file path=ppt/theme/theme3.xml><?xml version="1.0" encoding="utf-8"?>
<a:theme xmlns:a="http://schemas.openxmlformats.org/drawingml/2006/main" name="5_BlueMaster">
  <a:themeElements>
    <a:clrScheme name="Custom 42">
      <a:dk1>
        <a:srgbClr val="000000"/>
      </a:dk1>
      <a:lt1>
        <a:srgbClr val="FFFFFF"/>
      </a:lt1>
      <a:dk2>
        <a:srgbClr val="D0D0CE"/>
      </a:dk2>
      <a:lt2>
        <a:srgbClr val="97999B"/>
      </a:lt2>
      <a:accent1>
        <a:srgbClr val="005F86"/>
      </a:accent1>
      <a:accent2>
        <a:srgbClr val="007681"/>
      </a:accent2>
      <a:accent3>
        <a:srgbClr val="279989"/>
      </a:accent3>
      <a:accent4>
        <a:srgbClr val="658D1B"/>
      </a:accent4>
      <a:accent5>
        <a:srgbClr val="ABAD1B"/>
      </a:accent5>
      <a:accent6>
        <a:srgbClr val="DAAA00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argill_Corp_PowerPoint_BLUE_4-3_r01.pptx" id="{745CCCDC-1439-4D16-80D6-A3D87D158129}" vid="{9B115CD3-62D9-433B-9C11-08E0436F3BEA}"/>
    </a:ext>
  </a:extLst>
</a:theme>
</file>

<file path=ppt/theme/theme4.xml><?xml version="1.0" encoding="utf-8"?>
<a:theme xmlns:a="http://schemas.openxmlformats.org/drawingml/2006/main" name="GreenMaster">
  <a:themeElements>
    <a:clrScheme name="Cargill_2015">
      <a:dk1>
        <a:sysClr val="windowText" lastClr="000000"/>
      </a:dk1>
      <a:lt1>
        <a:sysClr val="window" lastClr="FFFFFF"/>
      </a:lt1>
      <a:dk2>
        <a:srgbClr val="D0D0CE"/>
      </a:dk2>
      <a:lt2>
        <a:srgbClr val="63666A"/>
      </a:lt2>
      <a:accent1>
        <a:srgbClr val="9E2A2F"/>
      </a:accent1>
      <a:accent2>
        <a:srgbClr val="BE531C"/>
      </a:accent2>
      <a:accent3>
        <a:srgbClr val="CF7F00"/>
      </a:accent3>
      <a:accent4>
        <a:srgbClr val="658D1B"/>
      </a:accent4>
      <a:accent5>
        <a:srgbClr val="005F86"/>
      </a:accent5>
      <a:accent6>
        <a:srgbClr val="007681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64A70B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argill_Corp_PowerPoint_GREEN_4-3_r01.pptx" id="{3534256C-7D7A-49BD-AE73-BF428DC0A626}" vid="{480C3434-67EA-4CCD-9CCD-E4F52420CEE7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F0C4D2AD196749AB040F8F773A068E" ma:contentTypeVersion="13" ma:contentTypeDescription="Create a new document." ma:contentTypeScope="" ma:versionID="16420b08bbbde1bdf3fc75b1fc0261b0">
  <xsd:schema xmlns:xsd="http://www.w3.org/2001/XMLSchema" xmlns:xs="http://www.w3.org/2001/XMLSchema" xmlns:p="http://schemas.microsoft.com/office/2006/metadata/properties" xmlns:ns3="42cc9631-c6df-44cd-ae1f-97264638d414" xmlns:ns4="bd0ad05e-ce94-49ee-9587-bf0e19b35fb7" targetNamespace="http://schemas.microsoft.com/office/2006/metadata/properties" ma:root="true" ma:fieldsID="1b99d48f5a4f30a2138e7d1aeef43d12" ns3:_="" ns4:_="">
    <xsd:import namespace="42cc9631-c6df-44cd-ae1f-97264638d414"/>
    <xsd:import namespace="bd0ad05e-ce94-49ee-9587-bf0e19b35fb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cc9631-c6df-44cd-ae1f-97264638d41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0ad05e-ce94-49ee-9587-bf0e19b35f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7972FA9-E1E6-4AEB-A409-663609C2D98D}">
  <ds:schemaRefs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purl.org/dc/terms/"/>
    <ds:schemaRef ds:uri="42cc9631-c6df-44cd-ae1f-97264638d414"/>
    <ds:schemaRef ds:uri="http://schemas.microsoft.com/office/infopath/2007/PartnerControls"/>
    <ds:schemaRef ds:uri="bd0ad05e-ce94-49ee-9587-bf0e19b35fb7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99BE838-6B44-4ED9-BBB6-C55DBC85F52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B697793-DA72-42C0-8277-067C3989A74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2cc9631-c6df-44cd-ae1f-97264638d414"/>
    <ds:schemaRef ds:uri="bd0ad05e-ce94-49ee-9587-bf0e19b35f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7368c21-b8cf-42cf-bd0b-43ecd4bc62ae}" enabled="0" method="" siteId="{57368c21-b8cf-42cf-bd0b-43ecd4bc62ae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Cargill_Corp_PowerPoint_BLUE_4-3_r01</Template>
  <TotalTime>0</TotalTime>
  <Words>1415</Words>
  <Application>Microsoft Office PowerPoint</Application>
  <PresentationFormat>On-screen Show (4:3)</PresentationFormat>
  <Paragraphs>369</Paragraphs>
  <Slides>12</Slides>
  <Notes>5</Notes>
  <HiddenSlides>0</HiddenSlides>
  <MMClips>1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12</vt:i4>
      </vt:variant>
    </vt:vector>
  </HeadingPairs>
  <TitlesOfParts>
    <vt:vector size="25" baseType="lpstr">
      <vt:lpstr>Lucida Grande</vt:lpstr>
      <vt:lpstr>Nexa Bold</vt:lpstr>
      <vt:lpstr>Arial</vt:lpstr>
      <vt:lpstr>Arial Narrow</vt:lpstr>
      <vt:lpstr>Calibri</vt:lpstr>
      <vt:lpstr>Courier New</vt:lpstr>
      <vt:lpstr>Helvetica</vt:lpstr>
      <vt:lpstr>Verdana</vt:lpstr>
      <vt:lpstr>Wingdings</vt:lpstr>
      <vt:lpstr>BlueMaster</vt:lpstr>
      <vt:lpstr>Standard Blue Presenations</vt:lpstr>
      <vt:lpstr>5_BlueMaster</vt:lpstr>
      <vt:lpstr>GreenMaster</vt:lpstr>
      <vt:lpstr>PowerPoint Presentation</vt:lpstr>
      <vt:lpstr>Reference material </vt:lpstr>
      <vt:lpstr>PPM Capability Framework</vt:lpstr>
      <vt:lpstr>PowerPoint Presentation</vt:lpstr>
      <vt:lpstr>PDP</vt:lpstr>
      <vt:lpstr>Roles &amp; Responsibilities </vt:lpstr>
      <vt:lpstr>Vilvoorde review teams </vt:lpstr>
      <vt:lpstr>PowerPoint Presentation</vt:lpstr>
      <vt:lpstr>Monthly CAPEX Execution Meeting Agenda </vt:lpstr>
      <vt:lpstr>Monthly CAPEX Execution Meeting  </vt:lpstr>
      <vt:lpstr>PowerPoint Presentation</vt:lpstr>
      <vt:lpstr>myPPM timesheets FY25 –YTD September </vt:lpstr>
    </vt:vector>
  </TitlesOfParts>
  <Company>Cargi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sing this PowerPoint template</dc:title>
  <dc:creator>Angela Poorman</dc:creator>
  <cp:lastModifiedBy>Maike Speck</cp:lastModifiedBy>
  <cp:revision>328</cp:revision>
  <cp:lastPrinted>2021-10-14T11:12:04Z</cp:lastPrinted>
  <dcterms:created xsi:type="dcterms:W3CDTF">2015-12-14T20:06:42Z</dcterms:created>
  <dcterms:modified xsi:type="dcterms:W3CDTF">2024-10-07T15:46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F0C4D2AD196749AB040F8F773A068E</vt:lpwstr>
  </property>
</Properties>
</file>